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595" r:id="rId2"/>
    <p:sldId id="606" r:id="rId3"/>
    <p:sldId id="607" r:id="rId4"/>
    <p:sldId id="608" r:id="rId5"/>
    <p:sldId id="375" r:id="rId6"/>
    <p:sldId id="596" r:id="rId7"/>
    <p:sldId id="597" r:id="rId8"/>
    <p:sldId id="598" r:id="rId9"/>
    <p:sldId id="599" r:id="rId10"/>
    <p:sldId id="600" r:id="rId11"/>
    <p:sldId id="609" r:id="rId12"/>
    <p:sldId id="601" r:id="rId13"/>
    <p:sldId id="602" r:id="rId14"/>
    <p:sldId id="603" r:id="rId15"/>
    <p:sldId id="605" r:id="rId16"/>
    <p:sldId id="604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008" userDrawn="1">
          <p15:clr>
            <a:srgbClr val="A4A3A4"/>
          </p15:clr>
        </p15:guide>
        <p15:guide id="4" orient="horz" pos="3600" userDrawn="1">
          <p15:clr>
            <a:srgbClr val="A4A3A4"/>
          </p15:clr>
        </p15:guide>
        <p15:guide id="5" orient="horz" pos="3984" userDrawn="1">
          <p15:clr>
            <a:srgbClr val="A4A3A4"/>
          </p15:clr>
        </p15:guide>
        <p15:guide id="6" orient="horz" pos="2160" userDrawn="1">
          <p15:clr>
            <a:srgbClr val="A4A3A4"/>
          </p15:clr>
        </p15:guide>
        <p15:guide id="7" pos="7296" userDrawn="1">
          <p15:clr>
            <a:srgbClr val="A4A3A4"/>
          </p15:clr>
        </p15:guide>
        <p15:guide id="8" pos="384" userDrawn="1">
          <p15:clr>
            <a:srgbClr val="A4A3A4"/>
          </p15:clr>
        </p15:guide>
        <p15:guide id="9" orient="horz" pos="1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, Mohanapriya" initials="D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0825"/>
    <a:srgbClr val="001581"/>
    <a:srgbClr val="FFFFFF"/>
    <a:srgbClr val="007FA3"/>
    <a:srgbClr val="D20064"/>
    <a:srgbClr val="FF0066"/>
    <a:srgbClr val="99008C"/>
    <a:srgbClr val="82007C"/>
    <a:srgbClr val="96008F"/>
    <a:srgbClr val="5953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488" autoAdjust="0"/>
    <p:restoredTop sz="95165" autoAdjust="0"/>
  </p:normalViewPr>
  <p:slideViewPr>
    <p:cSldViewPr>
      <p:cViewPr varScale="1">
        <p:scale>
          <a:sx n="86" d="100"/>
          <a:sy n="86" d="100"/>
        </p:scale>
        <p:origin x="446" y="48"/>
      </p:cViewPr>
      <p:guideLst>
        <p:guide orient="horz" pos="2112"/>
        <p:guide pos="3840"/>
        <p:guide orient="horz" pos="1008"/>
        <p:guide orient="horz" pos="3600"/>
        <p:guide orient="horz" pos="3984"/>
        <p:guide orient="horz" pos="2160"/>
        <p:guide pos="7296"/>
        <p:guide pos="384"/>
        <p:guide orient="horz" pos="1920"/>
      </p:guideLst>
    </p:cSldViewPr>
  </p:slideViewPr>
  <p:outlineViewPr>
    <p:cViewPr>
      <p:scale>
        <a:sx n="50" d="100"/>
        <a:sy n="50" d="100"/>
      </p:scale>
      <p:origin x="0" y="-427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8D874E-E9D5-433B-A149-BDF6BFDD40A8}" type="datetimeFigureOut">
              <a:rPr lang="en-US" smtClean="0"/>
              <a:pPr/>
              <a:t>11/3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DCAA22-461C-45B4-A301-BFCA580174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1922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0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93.02325" units="1/cm"/>
          <inkml:channelProperty channel="Y" name="resolution" value="55.95855" units="1/cm"/>
          <inkml:channelProperty channel="T" name="resolution" value="1" units="1/dev"/>
        </inkml:channelProperties>
      </inkml:inkSource>
      <inkml:timestamp xml:id="ts0" timeString="2023-11-03T12:45:42.082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9138 12690 0,'-28'0'156,"28"29"-156,0 27 16,0 85 0,-28 199-16,28-1 15,0-57 1,0-140-1,0 140 1,0-169 0,0-28-16,0-28 15,0 56 1,0-28 0,0-57-1,-28 85 1,28-85 15,0 0-15,0 1 31,-29-29-1,29-85-30,0 0 0,0-113-16,85-141 15,-57 57 1,29-29 0,-29 169-16,0 29 15,-28 0 1,0 85-1,0 0-15,0-29 32,29 29-17,-29 0 1,0-1 0,0 1 15,0 0-16,0-29 1,0 29 0,0 0-1,0-29 1,0 29 15,0 0-15,0-1 31,0 1-32,0 0 17,-29 28-17,29-28 1,-28 28-1,28-29 1,-28 1 0,0 0 15,28 0-15,-29 28-1,58-29 48,-1 29-63,0-28 15,29 0 1,84 0 0,340-57-1,112 28 1,-310 57-1,56-28 1,-197 28 0,-1 0-1,0 0 1,-112 28 0,84 0-1,-57-28 1,-28 29-1,1-29 1,55 0 0,-55 28 15,-1-28-15,0 28-1,1 1 16,-1-29-15,-28 28 31,0 0-31,0 29-16,-28 56 15,-29 198 1,29-227-1,-1 29 1,1-84 0,28-1-1,0 57 17,0 56-17,-28 57 1,28 198-1,0-199 1,0-140 0,0-1-1,0 1 1,0-29 0,0 1 15,0-1-16,0 0 48,-28-28-47,28 28 15,0 1 16,0-1-16,-29-28 0,29 28 0,-28-28-15,0 0 0,0 0-1,-1 0 1,1 0 0,-57 0-1,29 0 1,-114 0-1,-28 0 1,113 0 0,-141 0-1,85 0 1,84 0 0,1-28-1,-57 28 1,84 0-1,-55 0 17,-1 0-17,28 0 1,-56 0 0,-85 0-1,142 0 1,-57 0-1,28 0 1,57 0 0,-1 0-1,1 0 1,0 0 0,-29 0-1,1 0 1,27 0 15,1 0-15,-28 0-1,-1 0 1,29 0 0,0 0-1,-1 0-15,1 0 31,0 0-15</inkml:trace>
  <inkml:trace contextRef="#ctx0" brushRef="#br0" timeOffset="2098.87">21909 13482 0,'0'28'141,"56"-28"-79,57 28-62,0-28 16,1 29 0,-30-29-16,-27 28 15,56-28 1,-28 0 0,-57 0-16,29 0 15,-1 0 1,29 0-1,-57 0 1,0 0 0,29 0-1,-29 0-15,1 0 16,55 0 0,1 28-1,-28-28 16,-29 0 1,0 0-1,0 0-15,1 0 62,-1 0-31,0 0-1,1 0-46,-1 0 16,28 0 0,-27 0-1,-1 0 1,0 0 0,0 0 15,1 0 0</inkml:trace>
  <inkml:trace contextRef="#ctx0" brushRef="#br0" timeOffset="7702.74">23746 12662 0,'0'28'234,"0"1"-202,0 27-32,-28 1 15,28-1 1,0 29 0,0 85-1,0-114 1,0 114-1,0-86 1,0-27 15,0 28-15,-28 0 0,28-29-1,0-28 1,0 1-1,0-1 1,0 28 0,0 1-1,0-29 1,0 1 0,0-1-1,0 0 1,0 0-1,0 1 1,0-1 15,0 0-15,0 0 0,0 1-1,0-1 32,-29-28-47,29 28 16,0 0-1,0 1 32,0-1 0,0-56 16,0-1-32,0 1-31,0 0 15,0-29 1,0 1-16,0-1 16,29-141-1,-1 85 1,29-141 0,-29 113-1,-28 112 16,28-27-15,-28-1 0,0 29-1,0 0 1,0 0 0,0-1-1,0 1 1,0 0-1,0-29 1,0 1 0,28-1-1,-28 29-15,0-29 16,29-27 0,-29 55 15,0 1-16,0 0 1,0 0 0,0-1 15,0 1 0,0 0 0,-29 28-15,1 0 31,85-28 109,169-1-156,113-27 16,0 56-1,-56 0-15,-142 0 16,-84 0 0,28 0-16,-57 0 15,0 0-15,29 0 16,27 0 15,1 0-15,-28 0-1,-1 0 1,57 0 0,-84 0-1,27 0 1,1 0 0,28 0-1,-29 0 1,-28 0 15,1 0 0,-29 28 47,0 29-62,0-1-16,-29 57 16,1-28-1,0 28-15,28-28 16,-28 28 0,28-28-16,0-1 15,0 86 1,0-29-1,0-84 1,0 56 0,0-28 15,0-29-15,0 29-1,0 0 1,0-57-1,0 0 1,0 29 0,0-29 15,0 0-15,0 1-1,0-1 1,0 0-1,0 0 17,0 1-17,0-1 48,0 0-32,-29-28 0,29 28-15,-56-28 0,28 0 15,-29 0-31,29 0 15,-1 0-15,-27 0 16,-29-28 0,0 28 15,-84-28-15,-29-29-1,141 57 1,-56-28-1,57 0 1,-1 28 0,1 0-1,-1-28 1,-28 28 0,57 0-16,0 0 15,-57-29 1,57 29-1,-1 0 17,-27 0-17,28 0 1,-29 0 0,0 0-1,-56 0 16,57 0-15,28 0 0,-29 0-1,0 0 1,29 0 0,-28 0-1,27 0 1,1 0-1,-28 0 17,-1 0-17,29 29 1,-29-29 0,29 0-1,0 0 1,-1 0-1,1 0 1,0 0 0,0 0 31,-1 0-32</inkml:trace>
  <inkml:trace contextRef="#ctx0" brushRef="#br0" timeOffset="14903.39">26121 13482 0,'28'0'203,"57"0"-187,-29 0-16,58 0 16,-1 0-1,56 0 1,-84 0 0,0 0-1,28 0 1,-28 0-1,28 0 1,-28 0 0,-57 0-1,57 0 1,-29 0 0,1 0-16,-29 0 31,29 0-16,27 0 1,-27 0 15,-29 0-15,0 0 15,1 0-15,-1 0 78,0 0-48,1 0 17,-1 0-47,0 0-16,0 0 15,1 0 1,-1 0 15,0 0-15,0 0 15,-28-29 63,0 1-47,0 0-16,0 0-16,0-1-15,0-55 16,0-29 0,0 56-1,0-28 1,0 57 15,0 0-31,0-1 16,0 1-1,-28 0 1,28 0 0,0-1-1,-28 1 1,28-28 15,0 27-15,0 1-1,0 0 17,0 0-17,-28 28 95,28 28-95,0 28 17,0-27-32,0-1 15,0 28 1,0-27-16,0 55 15,0 58 1,0 56 0,0-142 15,28 114-15,-28-85-1,0-29 1,0 1-1,0 27 1,0-27 0,0-29-1,0 29 1,0-29 0,28 29-1,-28-1 1,0-28-16,0 29 31,0-29 0,0 0-15,0 1 0,0-1 30,0 0-14,0-56 61,28 28-77,-28-28-16,0-29 16,0 29-1,0-57 1,0-56 0,0 84-1,0-28 1,0 29-1,0-1 1,0 29-16,0 0 16,0-57-1,0 28 1,0 1 0,0-29-1,0 29 1,0-1-16,0 29 31,-28-57-15,28 57-1,0-57 1,-28-28 0,28 85-1,0-29 1,0 29-1,0 0 1,0-1 0,0 1-1,0 0 1,0 0 0,0-1-1,0 1 16,0 0 1,0 0 30,56 28-31,29 0-15,28 0-16,-28 0 16,113 0-1,-113-29 1,0 29 0,-1 0-1,-27 0 1,0 0 15,27 0-15,-27 0-1,-29 0 1,0 0 0,1 0-1,-1 0 1,0 0-1,1 0 1,27 0 0,-28 0-1,1 0 1,-1 0 15,0 0-15,0 0-1,1 0 64,-1 0-48,0 0 0,0 0-31,1 0 31,-1 0 16,0 0-16,-28 29 63,0-1-63,0 28-15,0 1-16,0 28 16,0-1-1,0-55-15,0 55 16,0 1 0,0 28 15,0-28-16,0 85 1,0-1 0,0-140-1,0 84 1,0-57 0,0-28-1,0 1 1,0 27-1,0-28 17,0 1-1,0-1 16,0 0-32,0 1 1,0-1 47,0 0-48,0 0 63,-28-28-78,0 0 32,-1 0-32,1 0 15,0 0 1,-29 0-16,1 0 15,28-28 1,-85 28 0,84 0-1,-56-28 1,-28-29 0,85 57-1,-85-28 1,28 28-1,57 0 1,-57 0 0,0-28 15,29 28-15,-29 0-1,57 0 1,-1 0-1,-27 0 1,28 0 0,-1 0-1,1 0 1,0 0 0,0 0-1,-29 0 1,29 0-1,-1 0 17,1 0-1,0 0-15</inkml:trace>
  <inkml:trace contextRef="#ctx0" brushRef="#br0" timeOffset="17564.72">20354 12577 0,'-28'0'109,"28"-28"1,0 0-95,0 0 16,0-1-31,0-27 32,0-1-32,0 29 15,56-85 1,1 56 0,-1-112 15,29-1-16,-28 114 1,27-86 0,-27 58-1,0 27 1,84-84 0,57-29-1,-29 85 1,1-56-1,-57 56 1,-85 57 0,29 0-1,-29 28 17,-28-29-17,-28 29 63,-29 0-62,29 0 0,-28 0-16,-1 0 15,0 0 1,-27 29-1,55-29 1,1 0 0,0 0-1,0 0 1,-1 0 15,58 0 79,27 0-110,57-29 15,-56 29 1,-1-28-16,1 28 15,-57-28 1,56 28-16,-27 0 16,-1 0 15,0 0-15,0 0-1,1 0 16,-29 28 1,0 0-1,0 1-31,0-1 31,0 0-31,0 0 16,0 1-1,0 27 1,0-27 0,0-1 15,-29 0-15,29 0 15,0 1-16</inkml:trace>
  <inkml:trace contextRef="#ctx0" brushRef="#br0" timeOffset="18870.5">22729 10740 0,'0'28'172,"-29"-28"-156,1 29-16,-29-1 15,29 28 1,-57 1 0,85-29-1,-84 57 1,55-57 0,29 1-1,0-1 1,-28-28-1,28 28 17,0 29-17,0-29 1,28 0 0,-28 0-1,29-28 1,-29 29-1,56-1 1,1 0 0,-29-28-1,57 28 1,0 1 0,-29-29-16,29 0 15,28 0 1,-28 0-1,-57 0 17,0 0-17</inkml:trace>
  <inkml:trace contextRef="#ctx0" brushRef="#br0" timeOffset="21822.98">29004 12436 0,'0'-28'171,"0"-1"-155,57-27 0,-57-1-1,28 57-15,0-56 16,1 28 0,-29-1-16,28 1 15,0 0 1,1-29-1,-1 29 1,0 0-16,0-1 16,29-27-1,-29 28 1,-28-1 0,57 29-1,-29-56 1,-28 28 15,28 28-15,0-29-1,-28 1 1,0 0 31,29 0-32,-1 28-15,-28-29 16,28 1 0,1 28-1,-1-28 1,0 0 15,0 28-31,-28-29 16,0 1 15,29 28-15,-29-28 62,-29-1-47,1 29-31,-28 0 16,-1 0-16,29 0 15,-29 0 1,1 0-16,27 0 16,1 0 15,0 0-16,0 0 17,28-28-17,113-28 17,85-1-32,-29 29 15,-112 0 1,-1 28-1,-27 0 1,-1 0 15,0 0 16,-28 84-16,0-55-15,28 27 0,-28 29-1,0-28 1,0-29 0,0 0-1,0 0 1,0 1 46,0-1-46,0 0 46</inkml:trace>
  <inkml:trace contextRef="#ctx0" brushRef="#br0" timeOffset="23441.06">30559 10768 0,'-28'0'188,"0"0"-172,-1 0-1,29 29 1,-28-1-1,0-28-15,28 28 16,-28-28 15,28 28-15,-29 1 15,29-1-31,0 0 16,0 1-1,0-1 1,0 28 0,0-27 15,0-1-15,0 0 15,29 0-16,-29 1 1,28-29 15,28 56-15,-27-56 0,-1 0-1,28 28 1,-27-28-1,-1 29 1,0-29 0,-28 28-1,29-28 17,-1 0-1</inkml:trace>
  <inkml:trace contextRef="#ctx0" brushRef="#br0" timeOffset="26695.15">24651 13086 0,'0'-28'204,"0"0"-189,0-1 16,0 1-15,0 0 0,0-1-1,0 1 1,0-85 0,0 85-1,56-85 1,-27-57-1,-1 114 1,0-1 0,0-28-1,-28 29 1,29-1 0,-29 29-1,28-28 1,0-29-1,-28 56 1,29 1 0,-29-28-1,0 27 1,0-27 0,0-1-1,28 29 1,-28-28-1,0 27 17,0 1-17,0 0 32,0 56 31,-28-28-62,-1 28 0,1 29-1,0-57 1,-1 56-16,29-27 15,-28-1-15,-28 0 16,56 0 0,-29 1-1,29-1 1,-28 0 0,0-28 15,28 28 16,28-56 46,-28 0-77,0 0-16,57 28 16,-29-29-16,-28 1 15,56 28 1,-27-28 0,-1 0-1,0 28 1,-28-29-1,29 29 17,-1 0-17,0-28 1,-28 0 62,28 28-78,1 0 63,-1 28 30,0-28-77,0 0-16,-28 28 16,0 1-16,29-1 15,-1-28 16,-28 28-15,0 0 0,0 1 31,28-29-47,-28 28 15,0 0 16,29-28 1,-29 28 15</inkml:trace>
  <inkml:trace contextRef="#ctx0" brushRef="#br0" timeOffset="28391.54">25471 10938 0,'-29'0'125,"1"0"-78,0 28-32,0-28 1,28 29 0,-29-29-16,1 0 31,28 28-15,-28-28-1,28 28 1,-28-28-1,28 28 17,0 1-17,0-1 17,28-28-1,0 28-16,29 0-15,-57 1 16,113-1 0,-113 0 15,28-28-15,0 28-1,0-28 1,1 29 15,-29-1 0,28-28-15,-28 28 15,0 0-15,-28 1-16,-1-29 15,-27 28 1,-1 29 15,1-57-15,-1 56 0,1-28-1,-1-28 1,29 0-1,0 0 1,-1 0 0,29 29-1,-28-29 1,0 0 0</inkml:trace>
  <inkml:trace contextRef="#ctx0" brushRef="#br0" timeOffset="109251.42">15718 12521 0,'0'-28'157,"0"-1"-126,0 1-16,0 0-15,0-29 16,0 1 0,0 27-16,0-55 15,28-1 1,-28 28-16,28 1 16,-28-57 15,0 0-16,29 84 1,-29-55 0,28 27-1,-28 29 1,0 0 0,0-1-1,28 29 16,-28-28-15,28 56 62,-28 1-78,29-1 16,-1 28-1,-28-27 1,28-1 0,-28 28-1,28-27-15,1-1 16,-1 57 0,-28-57-1,0 0-15,28-28 16,-28 28-1,29 1 1,-1-29 15,-28-29 16,28 29-31,-28-28-1,28 0 1,1-57 0,-29 29-1,56-57 1,1-57 0,-29 142-1,28-85 1,-56 84-1,0 1 1,0 0 0,29 28-1,-1 0 48,-28 28-16,0 0-47,28 29 15,-28-1 1,0-27-16,29 84 16,-29 0-1,56 85 1,-28-29-1,-28-84 1,29 0 0,-29-57-1,0 0 1,28 1 15,-28-1-15,0 0 31,0 0-16</inkml:trace>
  <inkml:trace contextRef="#ctx0" brushRef="#br0" timeOffset="110797.76">17470 11136 0,'-28'28'110,"0"-28"-64,28 28-30,0 1-16,-28-1 16,-1 28-1,1 29 1,0 0 0,28-57-1,0 1 1,0-1 15,0 0-15,0 0-1,0 1 1,0-1 15,28-28-15,0 0 15,1 0-15,-1 0-1,0-28-15,29-1 16,-57 1 0,56 0-16,-27 0 15,-1-1 16,0 1-15,-28 0 0,0-1-1,0-27 1,-28-1 15,28 29-15,-28 28-1,-1-28 1,29 0 0,-28 28 15,0 0 0</inkml:trace>
  <inkml:trace contextRef="#ctx0" brushRef="#br0" timeOffset="112153.63">18008 11221 0,'0'28'204,"0"0"-173,28 0-16,-28 1 1,28-29-16,0 56 16,1-28-16,-1 1 15,28-1 1,-27-28 15,-1 0-15,0 0-1,1 0 17,-1 0-17,-28-28 1,28-85 0,0-29-1,-28 114 1,0-57-1,0 57 1,0 0 0,-28 28-1,0-28 17,0-1-17,-1 29 1,-27 0-1,27 0 1,1 0 0,0 29-1,0-29 32,-1 0-31</inkml:trace>
  <inkml:trace contextRef="#ctx0" brushRef="#br0" timeOffset="113380.63">18884 11192 0,'-28'-28'188,"28"0"-172,0 0-1,-29-29 1,29 29-16,-28-29 15,28 1 1,0-1 0,0 1-1,0 27-15,0-27 16,0-29 0,0 57-1,0 0 1,0-29 15,0 29-15,0-1 15,28 29 0,1 0 32,-1 0-32,0 0-15</inkml:trace>
  <inkml:trace contextRef="#ctx0" brushRef="#br0" timeOffset="114775.7">19138 10655 0,'29'-28'234,"-1"28"-218,0 0-1,-28-28-15,0 0 16,28-1 0,1 29-1,-29-28 1,0 0-1,28 28-15,-28-29 16,0 1 0,0-28 15,0 27 0,-28 29 32,-1 0-48,1 0 17,0 29-32,0-29 15,28 28-15,-29 0 31,29 0-31,-28-28 16,28 29 0,0 27-16,0 1 15,0 28 17,0 28-17,28-113 1,1 84-1,-29-55 1,28-29 0,0 56-1,0-56 1,1 29 0</inkml:trace>
  <inkml:trace contextRef="#ctx0" brushRef="#br0" timeOffset="117416.42">16933 13227 0,'57'0'188,"56"0"-172,-57 0-1,29 0-15,-28 0 16,-29 0-1,29 0 1,27 29 0,-55-29-1,-1 0-15,29 0 16,27 0 0,1 0-1,-28 0 1,56 28-1,0-28 1,-85 0 0,57 28-1,-57-28 1,0 0-16,1 28 16,-1-28 15,57 29-16,-29-29 1,57 28 0,-28-28-1,-28 0 1,-1 0 0,1 0-1,-29 0-15,29 28 16,-1-28-1,1 28 17,-29-28-1,0 0 0,1 0 0,-1 0 48,0 0-33,-56 0 17,28-28-47,-28 0-16,-29 0 15,29-1-15,-1 1 16,-27 0-1,28 0 1,-85-1 0,84 1-1,1 28 1,0-28 0,-1 28 15,58 28 63,-1-28-79,-28 28 1,28 1-16,1-29 15,-1 28-15,-28 0 16,28-28 0,-28 28-1,28-28-15,-28 29 16,29-1 0,-1-28-1,0 28 16,-28 0 1,-28-28-1,0 29-15,-29-29 15,29 0-31,0 28 31,-1-28-31,29 28 16,-56-28-1,27 0 1,1 29 0,0-29-1</inkml:trace>
  <inkml:trace contextRef="#ctx0" brushRef="#br0" timeOffset="118701.55">18149 12860 0,'-28'0'156,"28"28"-93,0 0-47,0 1 30,0-1-14,0 0 15,0 1-1,28-29-30,0 0 15,0 0 16,1 0 0</inkml:trace>
  <inkml:trace contextRef="#ctx0" brushRef="#br0" timeOffset="119927.09">18177 12606 0,'-28'0'125,"28"-29"-78,0 1-16,0 0 1,0 0-17,28 28 48,-28 28 31</inkml:trace>
  <inkml:trace contextRef="#ctx0" brushRef="#br0" timeOffset="125471.85">27025 13567 0,'0'28'78,"0"0"-62,0 0 15,0 1-15,-28-29-16,28 84 16,0 29-1,-28 198-15,0 29 16,-29-58-1,29 170 1,0-282 0,28-85-1,0-29 1,0 1 15,-29-29 16,29 0-31,0 1 31,0-1-32,0 0-15,0 0 16,0 1-1,0-1-15,0 0 32,0 0-32,-28 1 31,0-29 16,-29 0-47,-169-29 15,-396-197 1,113 57 0,-395-1-1,338 114 1,255 27 0,29-27-1,84 56 1,28 0-1,-169 28 1,-57 29 0,227-29-1,-171 0 17,171 29-17,56-57 1,-142 56-1,-27 1 1,197-29 0,-85 0-1,0 1 1,57-29 0,-141 0-1,84 0 1,86 0-1,-58-29 1,29 29 0,57 0 15,-142 0-15,85 0-1,28 0 1,0 0-1,-28 0 1,56-28 0,-27 28-1,-30-28 1,58 28 0,-1 0-1,1 0 1,-1 0-16,29 0 15,-57 0 17,0 0-17,29 0 17,28 0-17,-1 0 1,1 0-1,0 0 1,0 0-16,-1 0 31,1 0-15,0 0 15,-1 0-15,1-28-16,28-1 15,0-27 17,-28 27-17,28 1-15,-28-57 32,28 57-17,0-28-15,0-1 16,0-56-1,0 56 1,0 29 0,0 0-1,0 0 1,-29 28 0,29-29-1,0 1 16,0 0 1,0 0 15,0-1-16,-28 29-31,28-28 62,0 0-15,0 0-16,28 28-15,1 0 0,-1-29-16,28 29 15,-27-28-15,-1 28 16,29-28 0,-29 28-1,0 0-15,29 0 16,-29 0-1,28 0 1,-27 0 15,-1 0-15,0 0 0,1 0 15,-1 0-16,28 0 1,1 0 0,-29 0-1,29 0 1,27 0 0,-27 0-1,-29 0 1,1 0-1,-1 0 1,0 0-16,0 0 31,1 0-15,-1 0 0,0 0-1,0 0 16,1 0-15,-1 0 0,-28 28 15,28-28 0,1 0 16,-58 0 125,29-28-172,-28 28 16,0 0-1,-1 0 1,1-28-1,0 28 1,28-29 15,-28 29-15,-1 0 0,29 29 109,29-29-110,-1 0 32,0 28-31,-28 0 31,28 0-16,-28 1 16,0-1-32,-28 0 1,0 0 0,0 1-1,-1-29-15,1 28 16,0 28-1,0-56 1,-1 29 0,29-1-1,-28-28 1,0 0 0,28 28-1,0 0 32,-29-28-47</inkml:trace>
  <inkml:trace contextRef="#ctx0" brushRef="#br0" timeOffset="128194.11">22248 13143 0,'0'-29'203,"0"1"-203,0 0 15,28 28 1,-28-28-16,0-1 16,29 29-1,-29-28-15,0 0 16,28-1 15,0 1-15,-28 0-1,0 0 1,28 28 0,-28-29-1,0 1 1,29 28 0,-1 0 15,0 28 47,0 1-78,-28-1 31,0 0-31,29-28 16,-29 28-1,0 1 1,28-29 0,-28 28-1,28-28 1,0 0 62,-28-28-47,29-1-31,-29 1 16,28-28 0,-28 27-1,0-55 1,0 55-1,0 1 1,0 0 0,28 0-1,-28-1 17</inkml:trace>
  <inkml:trace contextRef="#ctx0" brushRef="#br0" timeOffset="131167.29">23153 12747 0,'-29'0'172,"1"0"-140,0 0-17,28 28 1,0 0 15,-28-28-15,-1 0 15,29 29 31,0-1-46,29-28 15,-29 28-15,28 0 0,0 1 15,0-29-31,1 28 31,-1-28-15,-28 28-1,28 1 48,-28-1-48,0 0 17,-28-28-1,0 28-15,-1 1-1,1-29 1,0 0-16,0 0 31,28 28-15,-29-28-1,1 28 1</inkml:trace>
  <inkml:trace contextRef="#ctx0" brushRef="#br0" timeOffset="137776.47">27110 13284 0,'0'28'156,"29"0"-109,-1-28-32,0 29 1,-28-1-16,28 0 16,29 0-1,-29 1 17,0-1-32,-28 0 31,29-28-16,-1 0 1,0 29 0,-28-1 15,29-28-15,-1 0-1,0 0 48,-28 28-48,28 0 17,-28 1 14,-28-29 17,28 28-63,-28 0 31,0-28-31,28 28 16,-29 1-1,1-29 1,0 28 0,-1 0 31</inkml:trace>
  <inkml:trace contextRef="#ctx0" brushRef="#br0" timeOffset="139434.18">26460 12464 0,'-28'0'140,"28"29"-93,-28-29 0,-1 28-31,1 0-1,28 0 1,-28-28 0,28 29-16,-29-1 15,29 0 1,-28 0-1,28 1 1,-28-1 15,28 0-15,0 0 15,0 1 0,28-29-15,-28 28 0,57 0-1,-29 0 1,0-28 0,1 0-1,-1 0 1,0 0-1,0 0 17,1 0-17,-1 0 1,0 0 0,0 0 15,1 0-16,-1 0 48,0 0-32,-28 29-15</inkml:trace>
  <inkml:trace contextRef="#ctx0" brushRef="#br0" timeOffset="140871.6">26997 12832 0,'-28'0'203,"28"-29"-203,0 1 63,0 0-32,0 0-15,0 56 156,0 0-141,-28-28 78,28 28-109</inkml:trace>
  <inkml:trace contextRef="#ctx0" brushRef="#br0" timeOffset="142347.96">27280 12577 0,'0'29'203,"-28"-29"-203,28 28 16,-29-28 15,29 28-15,0 0 15,0 1 16,0-1-16,29 0 1,-1-28-17,-28 28 16,0 1 1,28-29-1,-28 28-15,0 0 15,0 0-16,-28 1 1,0-1 0,-1-28-1</inkml:trace>
  <inkml:trace contextRef="#ctx0" brushRef="#br0" timeOffset="159031.31">17838 13340 0,'-28'0'125,"-1"0"-78,29-28-16,0 0-31,0-29 16,-28-56-1,28 57 1,-28-170 0,28 141-1,0 28-15,0-27 16,0-1-1,0 0 1,0 0 0,28-113-1,-28 114 1,0-1-16,28 0 16,1-28-1,-29 85 1,0-1-16,0-27 47,28 56-32,-28-28-15,0-29 16,56-28 0,-27-28-1,197-226 1,28 56-1,-112 142 1,-58 85 0,-27-1-1,28 29 1,28-29-16,85-56 16,395-113-1,-55 56 16,-312 114-15,226-85 0,-141-1-1,-170 114 1,114-28 0,-86 27-1,-84 1 1,57 0-1,27-1 1,-84 29 0,113 0-1,85 0 1,-142 0 0,142-28 15,-142 28-16,-56 0 1,84 0 0,-27 0-1,-86 0 1,29 0 0,0 0-1,-57 0 1,57 0-1,-29 0 1,29 0-16,-56 0 16,55 0-1,-27 0 1,-1 0-16,-27 0 16,84 28 15,-85-28-16,142 29 1,-1-1 0,-84 0-1,113 1 1,28-1 0,-113 0-1,57 0 1,-29-28-1,-84 29 1,28-1 0,-1 0-1,-55-28 1,55 57 0,1-29 15,-57-28-16,29 28 1,28 29 0,-57-57-1,29 84 1,-1-27 0,1 28-1,56 226 1,-57 56-1,-56-282 1,0 56 0,0-84-1,0-29 1,0 0 31,0 1-32,0-1 17,0 0-1,0 0-31,0 1 31,0-1-31,0 28 31,0-27-31,0 27 16,29-28 0,-29 29-1,0-29 1,28 1 15,-28 27-15,0-28-1,0 1 1,28 84 0,-28-85-1,0 57 1,0-29 0,0-28-1,0 1 1,0-1-1,28 0 17,-28 1-32,0-1 15,29 0 1,-29 0 15,28-28-15,-28 29-1,0-1 1,28-28 0,-28 28-1,28 29 1,1-29 15,-1 0-31,0-28 31,-28 28-31,29 1 16,-1-1 0,0 0 15,-28 1-15,28-29-1,1 28 1,-1-28-1,0 28 1,-28 0 0,28-28-16,1 0 15,-29 29 1,56-1 0,-27-28-1,27 0 1,-28 28-1,1-28 1,-1 28 15,28-28-15,-27 29 0,-1-29-1,0 0 1,0 0 15,1 0-15,-1 0-1,0 0 1,1 0 0,-1 0-1,0 0 1,0 0 31,1 0-16,-1 0 0,0 0 16,0 0 0,-28-29 31,-28 1-47,0 28 1,0-28-17,-1 0-15,-27-1 16,-1 1-1,-84-85 1,84 85 0,1-29-1,-1 57 1,29-28 0,0 0 30,0 28-14,56 28 171,0-28-141,-28 28-62,28 0 16,1-28-16,-29 29 16,28-1 15,0 0-16,-28 1 48,28-29-63,-28 28 16,29-28-1,-29 28 1,28-28 15,-28 28-15,0 1 31,0-1 15,0 0-46,0 0 15,0 1 16,0-1-16,-28-28 0,-1 28 1,29 0-17,0 1 16,-28-29-15,0 0 31,28 28 0,0 0 31,-28-28-31</inkml:trace>
  <inkml:trace contextRef="#ctx0" brushRef="#br0" timeOffset="195592.73">19393 14132 0,'0'-28'203,"0"-1"-187,0 1-1,0 0 1,0 0-16,28-29 31,-28 29-31,28-29 16,-28 1 0,29-57-1,-1 84 1,0-84-1,0 57 1,-28 27 0,0 1-1,0 0 1,0 0 15,0-1 0,29 29-15,-1 0 47,-28 29-1,28-1-15,-28 0-31,28 29-1,1-1-15,27 29 16,-27-28-1,27 27 1,-56 1 0,28-85-1,-28 57 1,29-57 0,-29 28-1,28-28 32,0 0 0,-28-28-31,0-1-1,28 29 1,-28-28-16,0 0 15,0 0 1,0-29 0,0 29-1,0 0 1,0-29 0,0 29-1,0-29 1,0 1-1,29-1 17,-29 29-17,0 0 1,0-1 15,28 29-15</inkml:trace>
  <inkml:trace contextRef="#ctx0" brushRef="#br0" timeOffset="198686.49">20637 13284 0,'-29'0'78,"29"28"-15,-28-28-63,0 28 62,0 1-46,28-1 15,-29-28-15,1 28-1,28 0 1,-57-28 0,29 57-1,28-29 1,-28-28-1,28 29 1,0-1 0,-28-28-1,28 28 32,0 0-31,0 1 15,28-29-15,0 28-1,0 0 1,57 0 0,0 1-1,-57-29 1,29 28-1,-29 0 17,0-28-1,-28 28 0,0 1 0,0-1-15,-56 0 0,-57 29-1,0-1 1,-29 29 0,-27-28-1,141-29 1,-29-28-1,29 28 1,-1-28 0,1 28-1,0-28 48</inkml:trace>
  <inkml:trace contextRef="#ctx0" brushRef="#br0" timeOffset="200333.65">21032 13425 0,'0'28'203,"0"29"-188,0 0 1,0-29 0,0 0-16,29 0 15,-29 1 17,0-1-17,0 0-15,28-28 16,-28 28-1,0 1 17,0-1-17,0 0 17,0 0-1,28-28 31,0 0 1,1 0-48,-1 0 1,0 0 0,1 0-16,27 0 15,-56-28 1,28 28-16,1 0 16,-1 0-1,0 0 1,0 0-1,1 0 17,-1 0 30</inkml:trace>
  <inkml:trace contextRef="#ctx0" brushRef="#br0" timeOffset="207938.13">15435 7772 0,'-28'0'78,"28"29"-46,0 27-17,0 57 1,0 0-16,0-28 16,0-28-1,0-29-15,0 0 16,0 0-1,0 1 1,0-1 15,0 0 1,0 0-1,28-28-31,0 0 62,1 0-46,-29 29 0,28-29 15,0 0-16,0 0 17,1 0-1,-1 0 0,0 0 16,0 0-31,1 0-1,-1 0 32,0 0-16</inkml:trace>
  <inkml:trace contextRef="#ctx0" brushRef="#br0" timeOffset="209584.49">15916 7801 0,'0'28'109,"-29"-28"-62,29 28-31,-28 29 0,0-57-16,28 28 15,0 29 1,-28-57-1,28 28 1,-29 0 0,29 0-1,0 1 17,0-1 14,29-28-30,-1 0 15,0 0-15,0 0 15,-28-28-15,29 28-1,-1-29 17,-28 1 46,0 0-31,0 0 15,-28 28-46,28-29 15,-29 29-31,29-28 31,-28 28 1,0 0-17</inkml:trace>
  <inkml:trace contextRef="#ctx0" brushRef="#br0" timeOffset="211282.07">16255 7857 0,'-28'0'156,"28"28"-125,0 1-15,-29-29 0,1 0-16,28 28 15,0 0 1,0 1-1,-28-29 1,28 28 0,0 0 15,0 0 16,0 1-16,0-1 0,28-28-15,0 0 0,1 0 30,-1 0-14,0 0-1,0 0 16,1 0-16,-29-28 0,28 28-15,0 0 15,0 0 16</inkml:trace>
  <inkml:trace contextRef="#ctx0" brushRef="#br0" timeOffset="213965.18">16651 7857 0,'0'28'218,"-29"-28"-202,29 29 15,0-1-15,0 0 15,0 1 32,0-1-32,0 0 31,0 0-30,29-28-17,-1 0 48,0 0-32,0 0 0,-28-28 1,0 0 14,0 0-30,0-1 15,0 1-15,0 0 0,0-1 15,0 1 0,0 0 32,29 28 46,-1 28-47,0 0-30,1-28-17,-1 0 17,0 0 30,0 0-46,-28-28-1,29 28 1,-29-28-16,28 0 16,-28-1-1,28-27 1,-28 28-1,0-85 1,28 113 0,-28-57-16,0 0 15,0-27 1,0-1 0,0 28-1,0 1 16,0 28-15,0-1 0,0 1-1,-28 0 17,0 28-1,0 28 47,28 0-78,-29 1 16,29-1-1,0 28 16,0 1-15,0 84-16,57 57 16,56 113-1,-85-226 1,0 0 0,-28-29-1,0-28 16,0 1 1,29-29-1,-29 28 47,28-28-78</inkml:trace>
  <inkml:trace contextRef="#ctx0" brushRef="#br0" timeOffset="-179565.68">18375 12351 0,'0'28'141,"-28"-28"-94,0 0-16,-1 0 16,29 29 0,-28-29-47,0 0 31,28 28 0,-29-28-15,1 0 0,0 57-1,28-29 1,-28-28-1,-1 56 17,1-27-17,28-1 1,-28 0 0,28 0-1,0 1-15,-28-29 16,-1 56-1,1-28 1,0 85 0,28-56-1,-29 56 1,1-56 0,0 27 15,28-27-16,-28 28 1,-1-1 0,29 1-1,0 85 1,0-1 0,0-140-1,0 84 1,0-57-1,0-27 1,0-1 0,0 0-1,0 29 1,57-1 0,-57 29-1,28-29 32,0-27-31,-28-1-1,57 57 1,-29-29 0,1-56-1,-29 57 1,28-57-1,0 28 1,-28 29 0,28-29-1,1 0 1,-1-28 0,28 57-1,-56-29 16,29-28-15,27 56 0,-27-56-1,-1 57 1,0-29 0,0 1-1,1-1 1,-29 0-1,28-28 1,0 28 0,-28 1-1,28-29 17,1 0-1,-1 0-16,-28 28 1,28-28 0,0 0-16,29-28 31,-29-1-15,1-27-16,-1 28 15,85-142 1,-28 0-1,-57 142 1,0-57 0,1 29 15,-1 28-15,-28-29-1,0 29 1,0-1-1,28 1 1,-28-28 0,0 27-1,0 1 1,0 0 0,0-29-1,0 29 1,0-57-1,0 57 1,0-57 0,-28-28-1,28 85 17,0-57-17,-28-28 1,28 85-1,0-29 1,0 29 0,0 0-1,0-1 1,0-27 0,0 28-1,-29-29 1,1-28-1,28 29 1,-28-29 0,28 57 15,0 0-15,0-29-1,-29 29 1,29-1-1,-28-55 1,28 27 0,-28 29-1,28 0 1,0-29 0,0 29-1,-28 0 1,-1-1-1,1 1 17,28 0-1,0 0-31,-28-1 31,0 29-15,28-28-1,-29 28 1,1 0 0,0-28-1,-1 28 1,1 0 0,0-29-1,0 29 1,-1 0-1,1 0 1,0 0 15,0 29-15,-1-29 0,1 0-1,0 0 1,0 28-1,-29 0 1,29-28 0,-1 0-1,1 0 1,28 29 31</inkml:trace>
  <inkml:trace contextRef="#ctx0" brushRef="#br0" timeOffset="11862.93">24283 10966 0,'-28'0'125,"28"29"-78,0-1-16,0 0-31,0 0 16,0 29-16,0-29 15,0 29 1,0-1 0,0 29-1,0-29 1,0 29-1,0 0 1,0-28 0,0-29-16,0 28 15,0 29 1,0-57 0,0 1-16,0 27 15,0 29 16,0-57-15,0 29 0,0-29-1,0 0 1,0 1 0,0 27-1,0-28 16,0 1 1,0-1 15,-28-56 124,28-29-155,-28 1 0,-1 56-16,1-57 15,28 29 1,-28 0 0,28-1-1,-29 1 16,29 0-15,-28 28 0,28-29-1,28 58 157,-28-1-172,29 0 47,-29 1-16,28-29-31,0 0 47,1 0 16,-1 0-32,-28-29-15,0 1-1,28 28 1,0-28-1,-28-1-15,57-27 16,-57 28 0,28-1-1,0 1 1,-28 0 0,0 0 15,29 28-31,-29-29 31,28 29 0,0 0-15</inkml:trace>
  <inkml:trace contextRef="#ctx0" brushRef="#br0" timeOffset="14872.83">24085 10995 0,'0'28'203,"0"0"-171,0 0-32,0 1 15,0-1 1,0 0-1,0 0 1,0 1 0,0-1-1,0 0 32,0 0 0,0-56 125,0 0-156,0 0-1,0-1-15,-28 1 16,28-57-1,0 57 17,-28-28-17,0 27 1,28 1 0,-29 0-1,29-29 1,0 29-1,0 0 1,-28-1 0,28 1-1,0 0-15,0 0 16,-28-1 0,28 1 15,0-28-16,0 27 1,0 1 15,0 0-15,0-1 0,28 29-1,-28-28 1,28 28 15,1 0-15,-1-28-1,0 28 17,-28-28-32,28 28 15,1 0 32,-1 0-31,0 0 15,-28 28-31,29-28 47,-29 28-32,28-28 1,-28 28 0,0 1 15,0-1 16,0 0-32,0 1 17,0-1-1,0 0-15,-28 0 30,28 1-14,-29-29-17,29 28 17,-28-28-17,28 28 16,-28-28-15,28 28 15,-29-28 16,29 29-31,-28-29-1,28 28 1,-28-28 47,28 28-1,28-28 32,29 28-79,-1-28-15,29 29 16,28-29 0,-56 28-16,28-28 15,-1 28 17,-55-28-17,-1 0 1,0 0-1,0 0 17,1 0-1</inkml:trace>
  <inkml:trace contextRef="#ctx0" brushRef="#br0" timeOffset="124938.25">20015 8253 0,'56'0'203,"1"-28"-188,56-1-15,-28 1 16,28 0 0,-57 28-1,1 0 16,-1 0-15,-27 0 0,-1 0-16,28 0 15,1 0 1,-29 0 0,1 0-1,-1 0 1,0 0-1,0 0 17,29 0-17,-29 0 17,0 0-17,29 0 1,28 0-1,-57 0 1,142 28 0,-142-28-1,57 0 1,-29 0 0,-27 0-1,-1 0 1,0 0-1,0 0 32,1 0-15,-1 0 14</inkml:trace>
  <inkml:trace contextRef="#ctx0" brushRef="#br0" timeOffset="131617.82">22813 8366 0,'0'28'125,"29"-28"-78,27 0-32,1 0-15,56 0 16,-57 0 0,-27 0-16,27 0 15,-28 0 1,1 0-16,27 0 16,29 0-1,28 0 1,-56 0-1,-1 0 17,1 0-17,-29 0 1,29 0 0,-29 0-1,0 0 1,0 0-1,29 0 1,-1 0 15,-27 0-15,27 0-16,29 0 31,-57 0-15,1 0-1,-1 0 1,0-28 15,0 28-31,1 0 32,-1 0-17</inkml:trace>
  <inkml:trace contextRef="#ctx0" brushRef="#br0" timeOffset="134469.41">25527 8196 0,'28'0'250,"1"0"-234,-1 0-1,0 0 1,57 0 0,-28 0-1,112 0 1,-27 0 0,-114 0-1,28 0 1,-27 0-1,-1 0 1,0 0 0,0 0 15,1 0-15,-1 0 46,0 0-15,1 0 15,-1 0 32,0 0-16,0 0 282,1 0-329,-1 0-15,0 0 46,0 0-31,1 0 16,-1 0-31,0 0-1,1 0 1,-1 0 0,0 0 15,0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0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93.02325" units="1/cm"/>
          <inkml:channelProperty channel="Y" name="resolution" value="55.95855" units="1/cm"/>
          <inkml:channelProperty channel="T" name="resolution" value="1" units="1/dev"/>
        </inkml:channelProperties>
      </inkml:inkSource>
      <inkml:timestamp xml:id="ts0" timeString="2023-11-03T12:56:39.288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0742 9129 0,'0'28'157,"0"1"-110,29-29-32,-1 28 1,0-28-1,0 0 17,1 0-32,-1 0 31,0 0-15,1 0 15,-1 0 16,0 0-16,-28 28-15,0 0 62,0 1-16,0-1-31,-28 0-15,0 0 47,-1 1-32,1-29 0,28 28 0,0 0 32,0 1 15,28-29 47,1 0-78</inkml:trace>
  <inkml:trace contextRef="#ctx0" brushRef="#br0" timeOffset="1980.42">11166 9327 0,'0'28'266,"29"-28"-266,-1 0 31,0 0 32,0 0-16,1 0 31,-29 28 31,0 1-15,-29-29-78,1 0-1,0 0 48,0 0-32,28 28-15,0 0 171,28-28-124,0 0-32,0 0-16,1 0 1,-1 0 0,0 0 15,1 0 31</inkml:trace>
  <inkml:trace contextRef="#ctx0" brushRef="#br0" timeOffset="3385.94">11562 9157 0,'0'29'141,"0"-1"-125,-28-28-1,28 56-15,0-27 16,0 55-1,-28-27 1,28-29-16,0 29 31,0-29 1,28-28-1,0 0-16,0 0 17,1-28-17,-29 0 17,0-1 14,0 1-14,0 0-17,0-1 48,-29 29-63,29-28 31,-28 28 16,28-28-16,-28 28-15</inkml:trace>
  <inkml:trace contextRef="#ctx0" brushRef="#br0" timeOffset="4752.68">11788 9214 0,'0'28'203,"0"0"-171,0 1-32,0-1 15,0 0 16,0 0-15,29-28 62,-1 0-31,-28-28-31,0 0 15,0 0-15,0-1 15,0 1 31,0 0-15</inkml:trace>
  <inkml:trace contextRef="#ctx0" brushRef="#br0" timeOffset="6129.7">12099 9214 0,'-28'28'203,"28"0"-187,0 1-1,0-1-15,0 0 16,0 0 0,0 1-16,0-1 31,0 0-31,28-28 47,-28-28 78,0 0-78,0-1-16,-28 29 0</inkml:trace>
  <inkml:trace contextRef="#ctx0" brushRef="#br0" timeOffset="11294.9">7407 12916 0,'28'0'234,"0"0"-202,0 0-32,1 0 31,-1 0-31,0 0 62,0 0-15,1 0-16,-1 0 48,0 0-17,-28 29-62,0-1 78,0 0-47,-28-28 32,28 29-63,0-1 16,-28-28-1,-1 28-15,29 0 16,-28-28-16,28 29 31,-28-29-31,28 28 16,-28 0 15,28 0 31,28-28 126,0 0-141,0 0-32,1 0 17</inkml:trace>
  <inkml:trace contextRef="#ctx0" brushRef="#br0" timeOffset="12490.81">7915 12973 0,'29'0'203,"-1"0"-188,0-28 1,0 28 0,1 0 15,-1 0 16,0 0-16</inkml:trace>
  <inkml:trace contextRef="#ctx0" brushRef="#br0" timeOffset="13676.52">8000 13114 0,'28'0'282,"1"0"-251,-1 0 16,0 0-32,1 0 79</inkml:trace>
  <inkml:trace contextRef="#ctx0" brushRef="#br0" timeOffset="15647.04">8424 12945 0,'0'28'172,"0"0"-125,0 1-32,0-1 1,0 0 0,0 0 15,29-28 31,-1 0-46,28 0-16,-56-28 16,57 0-1,-1 0 1,1-1 0,-29 29 15,-28-28-31,28 0 31,1 28-15,-29-29-1,0 1 32,0 0-16,-29 28 1,1 0-17,0 0 17,0 0-17,-1 0 32,1 0-31,0 0-1,0 0 32,-1 0-31,1 0 31,28 28-32</inkml:trace>
  <inkml:trace contextRef="#ctx0" brushRef="#br0" timeOffset="16932.43">9272 12888 0,'0'28'203,"0"1"-203,0-1 15,0 0 1,0 1 0,0-1 15,0 0 0,29-28 0,-1 0 1,0 0-1,-28-28-31,28 28 16,-28-28-16,29 28 15,-29-29 1,0 1-1,0 0 1,0-1 15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0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93.02325" units="1/cm"/>
          <inkml:channelProperty channel="Y" name="resolution" value="55.95855" units="1/cm"/>
          <inkml:channelProperty channel="T" name="resolution" value="1" units="1/dev"/>
        </inkml:channelProperties>
      </inkml:inkSource>
      <inkml:timestamp xml:id="ts0" timeString="2023-11-03T12:59:20.607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25216 12803 0,'0'29'94,"0"-1"-63,0 0 47,85-28-62,-28 28-1,56-28-15,0 0 16,-28 29-1,-29-29 1,1 0 0,-1 0-1,29 28 1,141 0 0,-113-28-1,57 0 1,-29 0-1,-84 0 1,-1 29 0,29-29-1,-28 0 1,112 28 0,57-28 15,-28 0-16,28 0 1,-56 0 0,-85 0-1,84 0 1,29 0 0,-113 0-1,56 0 1,-84 0-1,-29 0 1,1 0 0,-1-28-1,0 28 1,0 0 0,1 0 15,-1-29-16,-113 1 64,-113 28-64,-198 0-15,-112 28 16,-199 1-1,424-1 1,0-28 0,57 28-1,113-28 1,-56 0 15,-1 0-15,113 0-1,-27 0 1,-1 0 0,57 0-1,-29 0 1,29 0 0,-29 0-1,-28 0 1,1 0-1,27 28 1,29-28 0,-29 0-1,29 0 17,0 0 14,56 0 17,29 0-63,84-28 16,57 28-1,84 0 1,-84 0-1,-141 0 1,226 0 0,-57-28 15,-141 28-15,56 0-1,-85 0 1,1 0-16,-29 0 15,57 0 1,28 0 0,-28 0 15,-29 0-15,-27 0-16,-1 0 15,57 0 1,113-28-1,-29 28 17,57-29-17,-56 1 1,-142 28 0,29 0-1,-29 0 1,0 0-1,1 0 17,-58 0 515,1 0-1,0 0-436,0 0 30,28 28 48,-29-28-32,29 29-140,-28-29 31,0 0 31,0 0-63,28 28 17,-29-28-32,-27 0 15,27 28 17,1-28-32,0 0 15,-29 0 1,29 0-1,-28 0 1,27 28 0,-27-28-1,28 29 1,-1-29 15,1 0-15,0 0-1,-1 28 1,1-28 0,-28 0-1,27 0 1,-27 0 0,-1 0-1,29 0 1,0 0-1,-1 0 1,1 0 0,0 0-1,-57 0 17,57 0-17,0 0 1,-1 0-1,1 0 1,0 0 0,-57 0-1,57 0 1,-1 0 0,1 0-1,0 0 1,0-28-1,-29-1 1,29 29 15,28-28-15,-57 0 0,1 28-1,27 0 1,29-28-1,-28 28-15,-28-29 16,-29-27 0,28 56-1,1-29 1,-1 1 0,-56 0-1,85 28 1,-29-28-1,-56-1 1,85 29 15,-85 0-15,56-28 0,1 0-1,-29 0 1,0-1-1,29 1 1,-57 28 0,-57-56-1,85 27 1,-84-55 0,27 55-1,114 1 1,-57 0 15,57-1-15,0 29-1,28-28 1,-29 28 0,-27-28-1,56 0 16,-28 28-31,28-29 16,-29 29 0,29-28-1,0 0-15,0-29 32,0 29-17,0 0 1,0-29-1,0 29 1,0 0 0,0-1-16,0 1 15,0 0 1,29 0 0,-29-1-1,0 1 1,56 0-1,-56 0 1,28-1 0,1 1-1,-29 0 1,28 28 15,0-28-15,0 28-1,1-29 1,-1 29 0,29 0-1,-1-28 1,29 0 0,-29 28-1,29 0 1,-28 0-1,-1-28-15,1 28 16,84 0 0,-28 0-1,-56 0 1,56 0 0,-57 0 15,86 0-16,27 0 1,-84 0 0,113 0-1,-28-29 1,-57 29 0,141 0-1,85-28 1,-169 0-1,-29 28 1,-28-29 0,-56 29-1,28 0 1,28 0 0,0 0 15,85 0-16,-29 0 1,-84 0 0,-28 0-16,-1 0 15,29 0 1,-28 0 0,-29 0-1,28 29 1,-27-29-1,-1 0 1,0 0 15,29 0-15,-29 28 15,0-28-15,-28 28-1,57 1 1,-29-29 0,0 28-1,1 0 1,-1-28 0,0 57-1,1-29 1,-29 0-1,28 29 1,0 27 0,-28-55-1,0 27 1,0 1 15,0-29-15,0 0-1,0 1 1,0-1 0,-28 0-1,28 29 1,-28-29 0,-1 0-1,-27 57 1,-1-85-1,1 85 1,-57-57 0,56 0-1,-56 29 17,28-29-17,29 0 1,-29 1-1,0-29 1,28 0 0,1 28-1,-29 0 1,57-28 0,-57 28-1,0-28 1,85 29-1,-56-29 1,27 0 0,1 0-1,0 0 17,-29 0-17,29 0 16,0 0-31,0 0 16,-1 0 31,1 0-16,0 0 79,-1 0 15,1 0-32,0 0 1,0 0-31</inkml:trace>
  <inkml:trace contextRef="#ctx0" brushRef="#br0" timeOffset="4790.82">25386 12888 0,'0'28'172,"0"1"-157,-28 27 1,28 1-16,-29 28 16,-27 141-1,28-85 1,-29 57 0,29-57-1,28-84 1,-29 28-1,1-1 1,28-27 0,-28 28-1,0-29 1,28-28 15,0 1-15,-29-1-1,29 0 1,-28 0 0,28 1-1,0-1 17,0-56 93,0-29-110,28 1 1,1-1-1,-29 1 1,28 27 0,-28-84-1,28 113 1,0-84 0,-28 55-1,0 1 1,0 0-1,29-1 1,-29 1 0,0 0-1,0 0 1,0-1 0,0-27-1,28 56-15,-28-28 16,28-1-1,-28 1 1,0 0-16,0 0 16,29-1-1,-1 1 1,-28-29 0,28 29-1,-28 0 1,0 0-1,0-29 17,28 29-17,-28-29 17,29 29-1,-29 0-31,0 0 15,0-1 1,0 1 0,0 0 15,0 0-31,0-1 16,28 29-1,-28-28 16,0 0-15,-28 28 125,-1 0-110,29 28-15,-28-28-1,0 0-15,0 0 16,-1 57-1,1-57 1,0 56-16,-29-56 31,-28 57-15,29-29 0,28-28-1,-1 28 1,1 0-1,28 1 17,-28-29-17,-1 0 1,1 0 31,28 28 0,0-56 62,28 28-93,29-57-1,-29 57 1,1-28 0,-29 0-16,28-1 15,0 29 16,0 0-15,1 0 0,-1 0-1,-28-28 1,28 28 0,0 0-16,1-28 31,-1 28-16,0 0-15,1 0 32,-1 0-17,-28-28 17,28 28-17,0 0 16,1 0-15,-1 0 93,-28 28-77,0 0-17,28-28-15,-28 28 16,0 1 0,0-1-16,28 0 31,-28 0-16,29 1 1,-29-1 0,28 0-1,-28 29 1,28-57 0,-28 28-1,28 28 1,-28-27 31,29-29-47,-29 28 15,28-28 48,-28 28-48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0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93.02325" units="1/cm"/>
          <inkml:channelProperty channel="Y" name="resolution" value="55.95855" units="1/cm"/>
          <inkml:channelProperty channel="T" name="resolution" value="1" units="1/dev"/>
        </inkml:channelProperties>
      </inkml:inkSource>
      <inkml:timestamp xml:id="ts0" timeString="2023-11-03T13:00:49.083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989 15065 0,'0'28'235,"57"28"-235,0-27 15,-1 27 1,29 1-16,-29-1 15,1 1 1,28-1 0,-29 1-1,1 28 1,-29-85 0,-28 28-1,28 0 1,1-28-1,-29 28 1,28-28 62,-28-28 0,0 0-62,0 0-16,28-1 16,-28 1-1,0 0 1,0 0-1,0-1 1,0 1 0,0 0 15,0-1-31,0 1 16,0 0 46,0 0-15,0-1 31,0 1-47,0 0-15,0 0 31,0-1-16,0 1 63,0 56 78,-28-28-157,28 29 1,-28-1 31,-1 0-47,29 0 15,-28-28-15,0 57 16,0-29 0,-29 0-16,57 1 31,-85 56-15,29-1 15,27-55-16,1-1 1,28 0-16,-28-28 16,0 28-1,28 1 1,-29-1 31,29 0 0,-28-28-47,28 28 31,-28 1 0,28-1-15,-28 0-1,-1-28 1,29 28 0,0-56 124,0 0-108,29 28-32,-29-28 15,28 28 1,-28-85-1,56 28 1,1-27 0,-29 27-1,0 1 1,29-1 0,-29 0-1,-28 29 1,28 28-1,-28-28 17,29 28-17,-29 85 63,0 28-62,-29 0 0,29-57-16,0 1 15,-28-57 1,28 56-16,0-27 16,0-1-1,0 28 1,-28-27-1,28-1 17,0 0-17,0 1 1,0-1 15,-28-28 32,-1 0-1,1-28-31,28-1-31,-28 29 16,0 0 0,28-28-1,-57 0 1,29 28 31,0 0-16,28-29-31</inkml:trace>
  <inkml:trace contextRef="#ctx0" brushRef="#br0" timeOffset="61225.53">3223 14867 0,'-29'0'125,"1"0"-78,28 28-47,-56 0 16,-1 0-1,29 1-15,-29-1 16,29-28 0,0 28-1,-1 29-15,1-57 16,0 0 0,28 28-1,-28 0 1,28 1-1,0 27 1,56 57 0,29 29-1,-28-86 1,-29 1-16,0-29 16,0 0 15,1 0-16,-29 1-15,28-29 16,-28 28 15,0 0-15,0 0 0,0 1-1,0-1 1,-28 28-1,-29-27 1,29-29-16,-29 28 16,1 0-1,27 1 1,1-29 0,0 0 15,0 0-16</inkml:trace>
  <inkml:trace contextRef="#ctx0" brushRef="#br0" timeOffset="62522.63">3675 15178 0,'0'28'172,"0"28"-156,0 57-1,0-56-15,0 56 16,28-28 0,-28-29-16,0-27 31,0-1-15,0 0-1,0 0 1,0 1-1,0-1 32,0 0-15</inkml:trace>
  <inkml:trace contextRef="#ctx0" brushRef="#br0" timeOffset="64489.81">4156 15121 0,'0'28'172,"0"1"-156,0-1-1,0 0 1,0 57-16,0 0 16,0 28-16,28-28 15,-28 112 16,0-140-15,28 56 0,-28-56-1,0-29 1,0 0 0,0 29-1,0-29 32,-28-113 47,28-28-94,-28-57 15,-1 29 1,1 56-16,0 1 16,28-1-1,0 28 1,-28-56 0,28 57-1,0 27 1,0 1-1,0-28 1,0 27 0,0 1-1,0 0 1,0-1 15,28 1 0,0 28-15,29 0 0,-29-28-1,0 28 1,0 0 0,29 0-1,-29 0 1,0 0 31,1 28-32,-29 0 1,0 1 0,0-1-1,0 0 1,0 29-1,-29-29 1,1 0-16,28 1 16,-28-1-1,0 0 17,28 0-17,-29-28 1,29 29-1,-28-29 17</inkml:trace>
  <inkml:trace contextRef="#ctx0" brushRef="#br0" timeOffset="66800.36">5145 15093 0,'-28'28'125,"28"0"-94,-29 1 0,1-1 16,0 0-31,0 0-1,-29 1 1,29-1 0,28 0-16,-28 0 15,-1-28-15,29 29 31,-56 27-15,-29 29 0,85-28-1,-28 27 1,-29 29 0,29-56-1,0-1 1,28-27-1,0 84 1,0-28 0,0-29-1,28-56-15,0 57 16,29 27 0,-29-55 15,57 27-16,28-56 1,-85 0 0,29 0-16,-29 0 15,85 0 1,0-56 15,-28-29-15,0 28-1,-29-27-15,1 27 16,-1-56 0,-27 56-1,-1-27 1,0 27 0,-28 29 15,28-29-16,-28-27 1,0 55 0,0-27-1,0 28 1,0-1 0,0-27-1,-28 27 1,28 1-1,-28 0 1,0-29 0,-1 57-1,1-28 1,-28-28 15,27 56-15,-27-29-1,-1 1 1,29 28 15,-29 0-15,29 0 46,0 0-62</inkml:trace>
  <inkml:trace contextRef="#ctx0" brushRef="#br0" timeOffset="75108.77">8707 15432 0,'0'28'218,"0"29"-186,0-29-17,0 0-15,0 29 16,0-29 0,0 29-1,0 27 1,0-27-1,0 28 1,0-29 0,0-27-1,0-1 1,0 28 0,0-27-1,0-1 16,0 0 1,0-56 93,0 0-110,0-29 1,0 29 0,0-57-16,0 0 15,0 29-15,0-1 16,0-28-1,-28 29 17,28-1-17,-29-27 1,29 55 0,0-27-1,0-1 1,0 29 15,0 0-31,0-1 31,0 1 32,0 0-32,-28 28-15,28-28 46,28 28 16,29 0-78,28 28 16,28-28 0,-28 0-16,28 0 15,0 28 16,-28 0-15,-29-28 0,114 29-1,28-29 1,-85 0 0,-57 0-16,29 0 15,-28 0 1,-29 0-1,0 0 1,0 0 0,1 28-1,-1-28 48,-28 28-48,28-28 17,-28 28-17,0 1 1,0 27 0,0 29-1,0 0 1,0-29-1,0 1 1,0-1 0,0-27 15,0-1-31,0 0 16,0 0 15,0 1-16,0-1 17,0 0-1,0 1 0,-28-29 0,0 28 32,-29-28-63,1 0 16,-57 0-1,28 28 1,-85-28-1,57 0 1,28 0-16,29 0 16,-142 0-1,113 0 1,57 0 0,-1 0-1,-27 0 1,28 0-1,-1 0 1,-27 0 0,-29 0 31,57 0-32,-1 0 1,1 0 15</inkml:trace>
  <inkml:trace contextRef="#ctx0" brushRef="#br0" timeOffset="78042.37">11675 15375 0,'0'29'172,"0"-1"-157,0 29-15,29-1 16,-29-28-16,0 29 16,0-1-1,0 1-15,0-1 16,28 1 15,-28-29-15,0 29-1,28-29 1,-28 29 0,0-29-1,28 0 1,-28 0-1,0 1 1,0-1 0,0 0 46,0-56-15,0-29-31,0 29-16,0-57 15,0 0 1,-28 1 0,28 27-1,-28-28 1,28 57-1,-28-28-15,28-29 16,0-28 0,-29 28-1,29 28 1,0 29 0,0 0 15,0 0-16,0-1 1,0 1 31,29 28-16,84-28-31,311-57 16,198 0-1,-170 29-15,-56-1 16,-57 29 0,-198 28-1,-84 0 1,-1 0 15,-27 0-15,-1 0-1,-28 28 95,0 0-95,0 1 1,0 27 0,0 1-16,-28-1 15,28 57-15,-29 0 32,-27 85-17,-1-56 1,57-58-1,0-27 1,0-29 0,-28-28-16,28 28 31,0 1-15,0-1-1,-28-28 1,28 28 15,-29-28-15,29 28-1,-28-28 1,-28 29-16,-57 27 31,-85 1-15,-509 28-1,-169-57 1,593-28 0,-169 0-1,169 0 1,198 0 0,-28 0-1,85 0 1,-1 0-1,1 0 1,0 0 15,0 0 1,-1 0-1</inkml:trace>
  <inkml:trace contextRef="#ctx0" brushRef="#br0" timeOffset="81569.52">15548 15093 0,'0'56'235,"0"-27"-220,0 27 1,0 57-16,0-56 16,0 28-16,0-29 15,0-28 1,0 57-1,0-28 1,0-29 0,0 57-1,0-57 17,0 0-17,0 0 1,0 1-1,0-1 1,28-28 31,-28-57-16,0 1-15,29-29-16,-29-28 15,0 57 1,28-142 0,-28 28-1,0 85 1,0-84 15,0-1-15,0 142-1,0-85 1,0 85 0,0-1-1,0 1 1,0 0 46,0 0-15,28 28-31,0 0 0,57 0-1,28 0 1,57 0-1,113 28 1,-142 0 0,-84-28-1,-1 28 1,1-28 0,-29 0-1,0 29 1,29-29-1,-29 0 17,0 0-17,1 0 1,-29 28 31,28 0-16,-28 29-15,0 27-1,0-55-15,0 55 16,0 1 0,0-28-1,0-1 1,0 1-1,0-29 17,0 0-17,0 1 1,0-1 0,0 0-1,0 29 1,0-29-1,0 29 1,0-1 0,0-28-1,0 1 17,0-1-32,-28 0 15,28 0 1,0 1 15,0-1 0,0 0-15,-29-28 15,1 28-15,28 1-1,-113-1 1,-28-28 0,56 28-1,-85-28 1,85 0 0,57 0-1,-28 0 1,27 0-1,1 0 17,0 0-1,-1 0-15,1 0-1</inkml:trace>
  <inkml:trace contextRef="#ctx0" brushRef="#br0" timeOffset="85416.39">6898 15686 0,'28'0'234,"0"0"-203,1 0-15,27 0-16,1 0 16,-29 0-1,28 0 1,1 0 0,-1 0-1,1 0 1,-29 0-1,1 0 1,27 0 0,29 0-1,-57 0 1,0 0 0,29 0-1,-29 0 1,1 0-1,27 0 1,-28 0 15,1 0-15,-1 0 0,0 0-1,0 0 1,1 0-1,-1 0 1,0 0 0,29 0-1,-29 0 1,0 0 0,1 0 15,-1 0-16,0 0-15,0 0 16,1 0 15,-1 0-15,0 0 0,0 0 15,1 0-31,-1 0 31,0 0 0,1 0 1,-1 0 14,0 0-14,0 0-17,1 0 17,-1 0-1,0 0 31,0 0-30,-56 0 124,0-28-125,0 28-31,28-28 31,-29 28-31,1 0 16,0 0 0,0-28-1,-1 28 1,29-29-1,-28 29 1,0-28 0,-1 28-1,1 0 17,0-28-17,56 28 173,-28 28-188,28 0 15,29 1 1,-29-29 0,1 0-1,-29 28-15,28-28 16,-28 28-1,28-28-15,0 0 32,-28 28-17,29 1 17,-29-1 14,0 0 33,0 0-33,-29-28-46,1 0 32,0 0-1,28 29-15,-28-29-16,28 28 31,-29-28-16,29 28 1,-28-28 15</inkml:trace>
  <inkml:trace contextRef="#ctx0" brushRef="#br0" timeOffset="89695.92">10234 15715 0,'28'28'157,"0"-28"-157,29 28 15,56 0 1,-57 1-16,29-29 16,-28 28-1,56-28 1,-29 28-1,-27-28 1,141 28 0,-57-28-1,-56 0 17,-57 0-32,29 0 15,-1 0 1,-27 0-1,-1 0 1,0 0 0,0 0-1,1 0 17,-1 0-17,0 0 32,1 0-16,-1 0 1,-56-28 202,-1 28-218,29-28 15,-28 28 0,0 0-31,28-28 16,-29 28-1,-27-29 1,28 29 0,28-28-1,-29 28 1,-27-28-1,28 28 17,28-28-17,-29 28 48,58 0 46,-1 28-78,0-28-31,-28 28 16,57-28 15,-29 0-15,-28 28 0,28-28-1,0 29 1,1-29 46,-29 28-46,0 0 62,0 0 31,0 1-77,-29-29-17,1 28-15,0-28 32,28 28-32,-28 1 15,-1-29 1,29 28 15,-28-28-31,0 28 16,0 0-1,-1-28 17,1 29-1</inkml:trace>
  <inkml:trace contextRef="#ctx0" brushRef="#br0" timeOffset="93060.12">14333 15545 0,'28'0'172,"0"0"-141,29 0-31,-29 0 16,28 0-1,29 0-15,-56 0 16,84 0-1,-29 0 17,-55 0-17,84 0 1,-85 0 0,0 0-1,1 0 1,-1 0-1,0 28 1,0-28 0,1 0-1,27 0 17,-28 0-17,1 0 32,-1 0-31,0 0 31,1 0-16,-1 0 0,-28-28 110,0 0-110,-28 28 0,-1 0-15,29-28-1,0-1 17,-28 29-17,0 0 17,28-28-1,28 28 94,0 0-78,1 0-32,-1 28-15,0 1 32,0-29-32,1 0 31,-1 0-16,-28 28 1,28-28 0,-28 28 15,28-28-15,-28 28 15,29-28-16,-29 29 48,-29-29-47,29 28-1,-28-28 1,0 0-1,0 56 1,-1-56 0,1 29-1,0-29 1,28 28 0,-28-28-1,-1 0 1</inkml:trace>
  <inkml:trace contextRef="#ctx0" brushRef="#br0" timeOffset="95914.64">17046 15404 0,'57'0'203,"-29"0"-203,85-29 16,85 1-16,0 28 16,-57 0-1,-56 0 1,57 0 0,-86 0-1,29 0 1,-29 0-1,1 0 1,-29 28 0,29-28-1,-29 0 1,0 0 0,1 0-1,-1 0 16,0 0-15,0 0 31,1 0-16,-58 0 125,1 0-124,0-28-1,0 28-31,-1 0 16,1 0-16,28-28 15,-28 28 1,0-28-1,28-1 1,-29 29-16,1 0 31,0 0-15,56 0 109,0 0-109,1 0-1,-1 29-15,0-29 16,29 28-1,-57 0 17,28-28-17,-28 28 1,0 1 31,0-1 0,-28-28-47,-1 0 15,29 28 1,-84-28 0,55 0-1,1 0 1</inkml:trace>
  <inkml:trace contextRef="#ctx0" brushRef="#br0" timeOffset="127762.09">10884 15884 0,'-29'0'141,"29"28"-94,0 57-32,0 0-15,-28 0 16,0 28-1,0 85 1,-1-142 0,29 114-1,-28-85 1,28-29 0,0-28-1,-28 29 1,28-29 15,0 0-15,0 1 31,-28-1-16,28-56 47,-29-1-47,29-27-31,-28 28 16,28-1-1,-28-27-15,28 28 16,0-1 0,0 1-1,-29 28-15,1-56 32,28 27-17,0 1 1,-28 0-1,28 0 1,-28 28 0,28-29 15,0 58 47,0 27-62,0 1-1,28-29-15,-28 28 16,0-27 0,0-1-1,0 0 1,0 0-1,28-28 32,-28 29-31,0-1 0,28-28-1,1 0 16,-29 28-15,0 0 0,28-28 62,-28 29-78,28-29 31,1 0 32,-1 0-48,0 0-15,29-29 31,-29 1-31,0 28 16,29-28 0,-29 0-1,0-1 1,1 29 0,-1-28-1,0 28 1,0-28-1,1 28 17,-29-28-1</inkml:trace>
  <inkml:trace contextRef="#ctx0" brushRef="#br0" timeOffset="130463.62">14898 15545 0,'-28'0'94,"28"28"-47,0 1-31,0 27-1,0-28 1,0 85-16,0 0 16,0-28-1,0 85 1,0-114-1,0 57 1,0-84 0,0 27-16,0-28 15,-29 86 1,29-58 0,0-28 15,0 1-16,0 27 1,0-28 0,0 1-1,0 27 1,0-28 0,0 1 15,0-1-16,-28-28 1,0 0 47,28-28-48,0-1 1,-28-27-1,-1-29 1,29 29 0,-28 27-1,0-27 1,28 28 15,0-1-15,0 1 15,-28 28-15,28 28 93,0 1-93,28 27-1,0 1 1,0-1 0,-28-28 15,0 1-16,29-1 1,-1-28 0,-28 28-1,28-28 1,-28 28 15,28-28-15,1 0-1,27-28 1,1 0 0,-1 0-1,1-1 1,-57 1-16,28 28 16,0-28-1,1 0 1,-1 28-1,0-29 1,29 1 15,-57 0-15,28 28 15,0 0 0</inkml:trace>
  <inkml:trace contextRef="#ctx0" brushRef="#br0" timeOffset="132442.16">17781 15460 0</inkml:trace>
  <inkml:trace contextRef="#ctx0" brushRef="#br0" timeOffset="135284.92">18375 15404 0,'0'28'172,"0"0"-157,0 1 17,28-1-17,-28 0 1,0 0-1,0 1-15,29-1 32,-29 0-17,0 0 1,0 1 0,0-1-1,0 0 1,0 0-1,0 1 1,0-1 0,0 0-16,0 29 31,0-29-15,0 0-1,0 1 1,0-1-1,0 0 1,0 0 15,0 1-15,-29-29 0,29 28-1,0 0 1,0 0-1,0 1 32,0-1-15,0 0 61,0 0-77,0 1 15,0-1 32,-28-28 15,0 0-31,28-28-32,0-29-15,0 29 16,-28 0 0,-1-57-1,29 57 1,-28-1-1,28 1 1,0 0 0,0 0-1,0 56 126,0 0-125,28 29-1,-28-29 1,29 0-1,-29 0-15,0 1 32,0-1-32,0 0 15,28 0 32,-28 1-16,28-29-15,0 0 47,1 0-32,-29-29-16,28 29 1,-28-28 15,28 28-15,0 0-16,-28-28 16,0 0 15,29 28-16,-1 0-15,0-29 32,-28 1-17</inkml:trace>
  <inkml:trace contextRef="#ctx0" brushRef="#br0" timeOffset="157521.35">19364 1667 0,'0'29'171,"0"-1"-155,-28 57 0,28-29-1,0 1 1,0-29 0,0 0-16,0 1 15,0-1 1,0 28-1,0-27 17,0-1-17,0-56 48,0-29-48,0 1 1,28 27 0,-28-56-16,0 29 15,0 28 1,0-29 0,0 1-1,0 27 1,0 1-1,0 0 1,0 0 15,0-1 16,0 1-16,29 28-15,-1 0 0,0-28-1,170 0 1,-56-1 0,-86 29-1,29 0 1,85 0-1,-86 0 1,29 0 0,0 0-1,-84 29 17,-1-29-17,0 0 1,1 0 15,-29 28 0,0 28-15,0-27 0,0 55-1,-29 1-15,1-28 16,28 56-1,0-57 17,0-27-17,0-1 17,-28 0-32,28 0 31,0 1-16,0-1 17,0 0-1,0 0 0,-29-28-31,29 29 63,-28-29-48,28 28 1,-28-28 0,-29 0-1,-56 0 1,85 0-1,-85 0 1,28 0 0,57 0-1,-85 0 1,28 0 0,57 0-1,-1 0 1,1 0-1,0 0 17,0 0-17,-1 0 1,1 0 0,0 0 15,28-28 0,-28 28 0</inkml:trace>
  <inkml:trace contextRef="#ctx0" brushRef="#br0" timeOffset="160072.89">21598 1470 0,'0'28'156,"0"0"-124,0 29-17,0 27 1,0 1-16,0 28 16,0-28-1,0-28 1,0 56-1,0-57 17,0-28-17,0 1 17,-28-29-17,28-29 32,0 1-31,0-85-16,0-57 15,0-84 1,0 169 0,0 29 15,0-1-16,0 29 1,0 0 0,0-1-1,0 1 17,0 0 30,28 28 1,0 0-48,57 0-15,0 0 16,-1 0-1,30 0-15,-30 28 16,-27-28 0,84 28-1,-84-28 1,-29 0 0,0 0-1,1 0 1,-1 29 15,0-29 0,0 0-15,-28 28 0,0 29 30,29-1-30,-1 29 0,0 56-1,-28-56 1,28 0 0,-28 28-1,29-85 1,-29 0-1,0 1 1,0-1 0,0 0 15,0 0-15,-29-28 30,-27 0-30,-1 0 0,-112 29-1,56-29 1,-57 0 0,-28 28-1,170-28 1,-29 0-1,-27 28 1,55-28 0,1 0 15,0 0-15,0 0 30</inkml:trace>
  <inkml:trace contextRef="#ctx0" brushRef="#br0" timeOffset="180516.68">23520 1413 0,'0'28'204,"0"29"-189,0-29 1,0 85-16,0 0 15,0 0 1,0-56 0,0-29-16,0 29 47,0-29-32,0 0 1,0 29-1,0-29 1,0 0 0,0 29-1,0-29 17,0 0-17,0-56 110,0 0-109,0-29-1,0-56-15,0 0 16,0-57 0,0-27-16,28-86 15,1 85 1,-29 57-16,28-1 16,0 29-1,-28 85 1,0-28-1,0 27 17,0 1-1,0 0 0,28 28 63,-28 28-32,29-28-62,-29 28 32,28-28-17,29 0 1,-1 57 0,-28-57-1,57 28 1,-28 0-1,-1-28 1,1 29 0,-29-29-1,29 28 1,-29-28 0,28 0-1,-27 0 1,27 0-1,29 0 17,-28 0-17,-1 0 1,1 0 0,-29 28-1,0-28 1,0 0 15,-28 28-15,29-28-1,-29 29 1,0-1 0,0 28-1,0 1 1,0 113 15,0 27-15,0-168-1,0 27 1,0-27 0,0-1-1,0 0 16,0 0-15,28-28 0,-28 29-1,0-1 1,28 0 0,-28 85-1,0-56 16,28-1-15,-28-28 0,0 1-1,29-29 1,-29 56 0,0-27 15,0-1 0,0 0 0,0 0 16,0 1-31,0-1-1,0 0 1,-29 0 0,1-28-1,0 57 1,28-29 15,-28-28-31,-1 0 16,-27 0-1,28 0 1,-29 0 0,29 0-1,0 0-15,-29 0 16,0 0 15,29 0-15,-28 0-1,27 0 1,-27 0 0,-29 0 15,57 0-15,-1 0-1,-27 0 1,28 0-1,-1 0 1,1 0 0,0 0-1,0 0 17,-1 0-1,1 0 16,0 0-32,0 0 1,-1 0 0,1 0-1,0 0 16,-1 0-31,1 0 16,0 0 0,0 0 15,-1 0 0</inkml:trace>
  <inkml:trace contextRef="#ctx0" brushRef="#br0" timeOffset="184473.56">18912 311 0,'0'28'93,"0"0"-14,0 29-48,0-1-16,0 1 1,0-1 0,0 1-1,0-29-15,0 29 16,0 27 0,0-27-1,0-29 1,0 29-1,0-29 1,0 0 0,0 1-1,0-1 17,0 0-32,0 57 31,0-57-16,0 29-15,0-29 16,-28 57 0,28-57-1,0 0-15,0 1 16,0-1 0,-28 0-1,28 29 16,0-29-15,0 0 0,0 0-1,0 1 17,0-1-32,-29 0 31,29 0-16,0 1 1,0-1 0,0 0 15,0 0 0,29-28 47,-1 0-62,0 0 0,0 0 15,1 0 0,-1 0 0,0 0-15,1 0 15,-1 0-15,0 0-1,0 0 32,1 0-31,-29-28 15,28 28-15,0 0 15,-28-28 0,28 28-15,-28-28 46,-28-1-30,0 29-1,28-28-15,0 0 15,-28 28-16,28-28 17,-29 28-1,58 0 63,-1 0-47,0 0-32,0 28-15,-28 0 16,29-28-1,-1 0 1,-28 28 15,28-28-15,-28 29 0,28-29 15,-28 28-16,0 0 17,0 0-1,-28 1 31</inkml:trace>
  <inkml:trace contextRef="#ctx0" brushRef="#br0" timeOffset="189417.65">20891 537 0,'0'28'172,"0"0"-141,0 1 1,0-1-32,0 0 15,0 57-15,0-29 31,0-27-31,0 27 16,28 1 0,-28-1-1,0-27 1,29 27 0,-29 29 15,0-57-16,28 0 1,-28 1 0,0-1-1,0 0 1,0 0 31,0 1-32,28-29 1,-28 28 0,0 0 15,0 1 0,28-29-31,-28 28 47,0 0-16,29-28 16,-1 0 0,-28 28-47,28-28 16,0 29 15,1-29-31,-1 0 31,0 0-15,1 0-1,-29 28-15,28-28 32,0 0-17,0 0 32,1 0-16,-1 0 16,0 0-15,0 0 14,1 0 48,-1 0-47,-28-28 109,-28 28-140,28-29 15,-29 29-15,1 0-1,0-28 1,0 28 0,28-28-1,-29 28 1,1 0 31,0 0 0,28-28-16,-28 28 63,56 0 31,0 0-94,-28 28 0,28-28-15,1 28-1,-1-28 17,0 0-17,-28 28 1,28-28 0,-28 29-1,29-29 16,-29 28-15,28-28-16,0 0 63,-28 28-48,0 0 16,0 1 32,-28-29-47,0 28-1,28 0-15,-29-28 16,1 0-1,0 28 1,28 1 0,-28-29 15,-1 0 0</inkml:trace>
  <inkml:trace contextRef="#ctx0" brushRef="#br0" timeOffset="198880.65">23040 169 0,'0'29'343,"0"-1"-311,0 0-17,0 0 48,0 1-32,0-1 16,0 0-32,0 0 1,0 1 47,0-1-48,0 0 16,0 1 1,0-1-1,0 0 16,0 0-16,0 1 32,0-1-17,0 0-14,0 0 77,0 1-31,0-1 63,0 0-94,0 0-16,0 1 47,0-1-47,0 0 16,0 0-16,0 1 16,0-1 110,0 0-79,28-28 15,0 0 1,0 0 62,1 0-77,-1 0 30,0 0-62,0 0-16,1 0 16,-1 0-31,-28-28-1,28 28 32,0 0-16,1 0 1,-1 0 30,0 0 16,-28-28 188,0-1-188,-28 29-31,28-28-16,-28 28 47,28-28-31,-29 28-31,29-28-1,-28 28 17,28-29 77,-28 29-93,28 29 187,28-1-156,0 0 31,-28 0-47,29-28 16,-29 29-32,28-29 126,-28 28-125,0 0 46,-28 1 16,-1-1-31,1-28 0,28 28-16,0 0 16,-28-28-47,28 29 78,28-58 110,0 29-173,1 0-15,-1 0 16,0 0 0,1-28-1,-1 28 1,0 0 0,0 0-1,1 0 16,-1 0 16,-28-28 63,0 0-32,-28 28-47,28-29 0,0 1-31,-29 28 16,29-28 0,0-1-1,0 1 1,-28 0-1,28 0 1,-28 28 0,0-29-1,28 1 1,-29 0 15,1 28-15,0 0 15,-1 0-15,1-28-1,28-1 17,-28 29-17,0 0 1,56 0 124,0 0-108,0 0-17,1 29 1,-1-1 0,0-28-1,-28 28 1,29-28-1,-29 28-15,28-28 16,0 29 0,0-1-1,1-28 32,-29 28-31,0 0-1,0 1 17,0-1-1,-29 0-15,1-28-1,0 29 1,0-1-1,-1-28 1,1 0 0,28 28 31,-28-28-32,-1 0 1,1 0 15,56 0 63,1 0-79,-1 0 1,0 0-16,-28-28 16,29 28-1,-1-28 17,0 28-32,-56-29 93,0 29-77,-1 0 15,1 0-31,28-28 31,0 0 48,0-1-48,28 29 31</inkml:trace>
  <inkml:trace contextRef="#ctx0" brushRef="#br0" timeOffset="202216.13">24877 1356 0,'28'0'234,"29"-28"-218,56 28-16,0-28 15,85 0 1,-57 28-16,-84 0 15,56 0 1,-28 0-16,-1 0 16,114 0-1,-56 0 17,56 0-32,-1 0 15,199 28 1,-311-28-1,0 0-15,28 28 16,28 0 0,-56-28-1,0 0-15,0 0 16,84 29 0,-140-29-1,55 0 1,58 0-1,-114 0 1,29 0-16,-1 0 31,29 28-15,-29-28 0,57 28-1,-28-28 1,-28 0-1,28 0 1,-29 29 0,1-29 15,-29 28-15,0-28-1,1 0 16,-1 0 32</inkml:trace>
  <inkml:trace contextRef="#ctx0" brushRef="#br0" timeOffset="-202113.67">18290 4522 0,'0'28'171,"0"1"-171,0 27 16,29 57 0,27 85-16,1-28 15,-29-57 1,-28-29 0,0-55-1,0 27 1,0 1-1,28-1 1,-28 29 0,0 0-1,0-29 1,0-27 0,0-1 15,0 0-16,0 0 17,0 1 15</inkml:trace>
  <inkml:trace contextRef="#ctx0" brushRef="#br0" timeOffset="-199683.03">19280 4522 0,'0'28'156,"-29"-28"-109,-27 0-31,56 29-16,-57-29 15,29 28 1,-28 0-16,-1-28 16,29 28-1,-1-28 1,-27 0-1,28 0 1,-1 0 0,1 0 15,0 0 0,0 0 16,28 29-31,0-1 15,0 0 0,28-28-15,-28 28-1,28 1 1,-28-1 0,28 57-1,1 0 1,-29-57 15,0 0-31,28 0 16,-28 1 15,0-1-15,0 0 31,0 0-16,28-28 78,0 0-78,1 0-15,27 0 0,1 0-1,-1 0 1,-27 0 0,27 0-1,1 0 1,-29 0-1,28 0 1,-27 0 0,27 57-1,-27-29 1,-1 0 0,-28 1-1,0-1 1,0 28-1,0-27 1,-28 56 0,-29-29-1,0-28 1,-27 1 0,55-29-1,1 0 16</inkml:trace>
  <inkml:trace contextRef="#ctx0" brushRef="#br0" timeOffset="-197522.02">16453 6868 0,'0'28'141,"0"29"-125,0-1-1,0 29-15,0 28 16,0-28 0,28 0-16,-28-29 15,0 86 1,28-86-1,-28-28 17,0 29-17,0-29 1,0 0 0,0 1-1,0-1 32</inkml:trace>
  <inkml:trace contextRef="#ctx0" brushRef="#br0" timeOffset="-196347.53">16990 7151 0,'0'28'156,"0"0"-156,0 0 16,0 57-1,0-57 1,0 29-16,28-1 16,0 114-1,-28-85 1,29 28-16,-29-57 15,0 29 1,0-28 15,0-29 1,0 0-1,0 1-16,0-1 64</inkml:trace>
  <inkml:trace contextRef="#ctx0" brushRef="#br0" timeOffset="-195071.64">17612 7320 0,'0'28'141,"0"1"-110,0-1-15,0 0-16,0 29 15,0-1-15,0-27 16,0 27 0,28 1-1,-28 27 1,0-55-1,0-1 1,0 0 0,28-28-1,-28 28 1,0 1 0</inkml:trace>
  <inkml:trace contextRef="#ctx0" brushRef="#br0" timeOffset="-193633.99">18262 7433 0,'0'28'187,"0"1"-171,0-1 15,0 0-31,0 29 31,0-29-31,0 0 32,0 1-17,0-1 1,0 0-1,0 0-15,28 1 32,-28-1-17,0 0 1,0 0 31,0 1-32,0-1 48,0 0-47,29-28 15,-29 29-16,0-1 48</inkml:trace>
  <inkml:trace contextRef="#ctx0" brushRef="#br0" timeOffset="-190178.32">20410 8762 0,'0'28'140,"0"0"-93,0 0-16,-28-28 1,28 29-32,0-1 31,-28-28-31,28 28 15,0 0 1,0 1 15,0-1-31,0 0 16,0 1 15,0-1-31,0 0 31,0 0 1,0 1-32,28-29 31,-28 28-15,57-28-1,-29 28 1,0-28-1,1 0 1,-1 0 0,0 0-16,0 0 15,1-28 17,-1 28 14,-28-28-46,0-1 16,0 1 15,0 0-15,0 0 0,0-1-1,0 1 1,0 0-1,0-1 1,0 1 15,-28 28-15,28-28 0,0 0-1,-29 28 1,1 0-16,0-29 31,-29 1 0,29 28 1,0 0-1</inkml:trace>
  <inkml:trace contextRef="#ctx0" brushRef="#br0" timeOffset="-189093.73">20948 8846 0,'28'0'188,"0"0"-173,0 0 1,1 0 0,-1-28-1,0 28 16,0 0 1,1 0-1</inkml:trace>
  <inkml:trace contextRef="#ctx0" brushRef="#br0" timeOffset="-187998.58">20948 9129 0,'28'0'187,"28"-28"-187,-27 0 16,27 28-16,1 0 15,-29-29 1,29 29-16,-29-28 16,0 28-1,0 0 17,1-28-17,-1 28 1,0 0 15,0 0 32</inkml:trace>
  <inkml:trace contextRef="#ctx0" brushRef="#br0" timeOffset="-175027.55">26319 1102 0,'0'28'203,"0"29"-187,0-29-16,0 29 16,0-29-1,0 28-15,0 1 16,0 0 0,0-29-1,0 0 16,0 0-15,0 1 0,0-1-1,0 0 1,0 0 0,0 1-1,0 27 1,0-28-1,0 1 1,0-1 0,0 0 15,0 0 0,28-28-31,-28 29 16,0-58 78,0 1-79,0-85-15,0 0 16,0 0-1,0-28-15,0-1 16,0-27 0,0 84-1,0-28 1,0 28 15,-28 29-31,28 27 31,0 1-15,0 0 15,28 28 110,0 0-125,1 28-16,27-28 15,1 28 1,-1-28-16,1 29 15,-1-1 1,1 0 0,56 0-1,-28 1 1,-29-29 0,1 0-1,-1 28 1,-27-28-1,-1 0 17,0 0-17,0 0 1,1 0 0,-1 0 15,0 0 0,-28 28 0,0 0-31,0 29 32,-28 56-32,28-28 15,-28 28 1,-1-28-16,1 0 15,0-1 1,28 1 0,0-28-1,0-29 17,-28 57-17,28-57 1,0 57-1,0-57 1,0 0 0,0 1 15,0-1-15,-29-28-1,29 28 1,-28-28 31,-29 28-16,29-28-31,0 0 31,-29 0-31,29 0 16,-113 0-1,56 0 1,57 0 0,-57 0-1,57 0 17,-29 0-17,29 0 48</inkml:trace>
  <inkml:trace contextRef="#ctx0" brushRef="#br0" timeOffset="-172736.75">25810 395 0,'0'29'172,"0"27"-156,-28-56-1,28 57-15,0-29 16,0 0-16,0 1 16,-29-1-1,29 0 16,0 0-15,0 1 47,0-1-17,29-28-30,-1 0 15,0 0-31,-28 28 16,113-28 0,-84 0-1,27 0 1,57 0 15,-56 0-15,-29 0-1,0 0 1,0 0 0,1 0-1,-1 0 1,0 0-1,-28-28 110,0 0-93,-28 28-1,0-29 0,28 1 0,-29 28 1,29-28-32,-28 28 31,56 0 110,-28 28-126,29 0 32,-1-28-16,-28 29 1,0-1-1,-28-28 0,28 28-15,0 0 15,-29-28-31</inkml:trace>
  <inkml:trace contextRef="#ctx0" brushRef="#br0" timeOffset="-167913.26">15944 8479 0,'-28'0'62,"28"28"1,-29-28-32,29 29-31,0-1 31,0 28-15,-28-56-16,28 29 16,0-1-1,-28 0 1,28 0 0,0 1-1,0-1 32,0 0-31,28-28-1,0 28 1,29 1 0,28-1-1,-57-28 1,0 0-16,1 0 15,-1 28 1,0-28 0,0 0-1,-28 28 1,29-28 0,-1 0 15,-28-28 31,-28 28-15,28-28-31,-29 0 31,1 28-16,56 0 110,1 0-126,-1 0 1,-28 28-1,28-28 1,-28 28 47,28-28-48,-28 28 1,0 1-1,0-1 32,-28-28-31,28 28 15,-28-28-15</inkml:trace>
  <inkml:trace contextRef="#ctx0" brushRef="#br0" timeOffset="-166215.61">16905 9016 0,'-28'0'187,"0"28"-155,-1 1-1,29-1-31,0 0 15,0 0 1,-28 1 0,28-1-1,0 0 1,0 0 0,57 1-1,-29-29-15,28 28 16,29 0-1,56 0 17,-112-28-17,84 0 1,-28-28 0,-29 28-1,1-28 1,-29 28-1,29-57 17,-29 57-17,-28-28 1,0 0 0,0 0-1,0-1 1,-85-27-1,0-1 1,0 29 0,29 28-1,-29-28 1,57 28 0,-1 0-16,1 0 15,0 0 1,0 0 15,-1 0 0,1 0 32</inkml:trace>
  <inkml:trace contextRef="#ctx0" brushRef="#br0" timeOffset="-165020.18">17866 8903 0,'0'28'203,"0"29"-203,0-29 31,0 0-31,0 1 31,28-29-31,-28 28 31,0 0-15,29 0 15,-29 1 1,0-1-17,28-28 16,-28 28 1</inkml:trace>
  <inkml:trace contextRef="#ctx0" brushRef="#br0" timeOffset="-163894.2">18177 8903 0,'0'28'203,"0"29"-187,0-29-1,28-28 1,-28 28-16,0 1 16,0-1 15,0 0-15,0 0 30,29 1-14</inkml:trace>
  <inkml:trace contextRef="#ctx0" brushRef="#br0" timeOffset="-162668.15">18488 8875 0,'0'28'203,"28"0"-188,1 0 1,-29 1 0,28-1-1,-28 0 17,0 1-17,28-29 1,-28 28 31,28 0-16</inkml:trace>
  <inkml:trace contextRef="#ctx0" brushRef="#br0" timeOffset="-160758.62">21937 8564 0,'28'28'250,"1"0"-219,-29 1-31,0-1 31,28-28-15,-28 28-1,28 0 17,-28 1 30,28-29-46,-28 28-1,0 0 17,0 0 14,0 1-14,29-29 15,-29 28-16</inkml:trace>
  <inkml:trace contextRef="#ctx0" brushRef="#br0" timeOffset="-156559.78">18545 6981 0,'0'28'94,"-29"1"-32,1-29-31,0 28 16,0-28-47,-1 28 16,-27 0-1,-1 1-15,29-29 16,28 28 0,-28-28-1,-1 28 1,1-28 0,0 0-16,0 28 15,28 1 16,-29-29-15,29 28 0,-28-28-1,0 28 17,0 0-17,-1 1 1,29-1-1,-28 0 1,28 0 0,-28 29-1,28 28 1,-29-57 0,29 29-1,0-29 1,0 0 15,0 0-15,0 29-1,0-29 1,0 0 0,29 29-1,-29-29 1,28-28-1,-28 57 1,0-29 0,28 0-1,1 1 1,-29-1 0,28 28-1,-28-27 16,28-1-15,0-28 0,-28 28-1,29 0 1,27 1 0,-28-1 15,1-28-31,-29 28 15,56-28 1,-27 0 0,27 0-1,29 0 1,-29 0 0,86-28 15,-86-29-16,1 29 1,28 0 0,-85 0-1,28-1 1,0 1 0,0 0-1,-28 0 1,57-57-1,-57 57 1,0-1 0,28 1-1,-28-29 1,29 57 0,-29-28 15,0 0-16,0 0 1,0-29 0,-29 29-1,29 0 1,0-1 0,-28-27-1,0 56 1,28-28-1,-29-1 1,29 1 0,-28 0-1,0-1 1,28 1 15,-28 0-15,-29-29-1,29 29 17,0 0-32,-1 0 31,1 28-31,0-29 16,28 1-1,-29 28-15,1 0 16,28-28-1,-28 28 1,0-28-16,-1-1 31,1 29 16</inkml:trace>
  <inkml:trace contextRef="#ctx0" brushRef="#br0" timeOffset="-153695.24">18997 7631 0,'28'0'203,"1"0"-203,-29-28 16,56 28-1,1 0 1,-1-28-1,1-1 1,56 29 0,-57-28-1,29 28 1,0 0 0,-29 0-1,1 0 1,56-28 15,-85 28-15,57 0-1,57 0 1,-114 0 0,57 0-1,28 0 1,-85 0-1,85 28 1,-56 0 0,-29-28-1,0 29 1,0-29 0,1 0-1,27 28 16,-28 0-15,1 0 0,-1-28-1,0 29 1,1-1 15,-29 0 0,28 0-15,0 1 0,-28-1 15,0 0-31,28-28 16,-28 28-1,29 29 16,-1-29-15,-28 1 15,0-1 16,0 0-16,0 0 1,-28-28 46,-1 0-47,29-28 0,-28 28-31,28-28 32,-28 28-32,28-28 62,-28 28-46,28-29 15,0 58 78,28-29-109,0 0 32,0 0-17,1 28 1,-1-28-16,-28 28 15,28 0 1,0-28 0,1 0 15,-1 0 0,0 0 0,-28-28 32,0 0-47,0 0 30,0-1-30,0 1 31,0 0-16</inkml:trace>
  <inkml:trace contextRef="#ctx0" brushRef="#br0" timeOffset="-138433.83">15605 9920 0,'0'29'109,"0"-1"-78,0 0 0,0 1-31,0-1 16,0 0 0,0 29-16,0-1 15,0 1 1,0-29 0,0 28-1,0-27 1,0-1-1,0 0 17,28 0-17,-28 1 1,56-29 0,-56 28-1,57 0 1,0 1-1,84-29 1,-85 0 0,29 0-1,-56 0 1,27 0-16,-28 0 16,1 0-16,-1 0 31,0 0-16,0 0 1,1 0 0,27 0-1,-28 0 1,57 0 0,-28 0-1,-29 0 1,29 0 15,-29 0 0,0 0 1,-28-29 61,-28 29-61,28-28-32,-28 0 15,-1-1 1,1 29-16,0-28 15,0 0 1,-1 0 0,1-1-1,0 29 1,28-28 0,28 56 155,0 1-155,1-29-16,-1 28 16,0 0-1,0 0-15,1-28 16,-1 29-16,-28-1 31,28-28-15,0 28-1,-28 1 17,0-1-17,0 0 17,0 0-1,0 1 0,0-1-31,0 0 16,-28-28-1,28 28 1,-28 1 15,0-29 0</inkml:trace>
  <inkml:trace contextRef="#ctx0" brushRef="#br0" timeOffset="-136436.36">17357 10231 0,'-28'29'78,"0"-29"-31,0 28 0,28 0-16,0 0 16,-29 1-32,29-1 1,-28 0 0,28 0-16,0 1 46,0-1-30,0 0 31,0 1-47,28-1 31,1-28-15,-1 28-1,0-28 1,0 0-16,29 0 16,-1 0-1,-27 0 1,56 0 0,-57-28-1,0 28 1,0-28 15,1-1-15,-1 29 15,-28-28-15,0 0-1,0-1 1,0 1-1,0 0 17,0 0-17,-28-1-15,-1 1 32,1 28-17,0-28 1,28 0 15,-28 28-31,-1 0 16,1 0 15,0 0-15</inkml:trace>
  <inkml:trace contextRef="#ctx0" brushRef="#br0" timeOffset="-134727.39">18008 10288 0,'0'28'125,"-29"0"-63,29 1-46,0-1-1,0 57-15,0-57 16,-28 29 0,28-1-1,0-28-15,0 29 31,0-29-15,0 0 0,0 1 15,28-29-15,1 0 15,-1 0-16,0 0 1,0 0-16,29 0 16,-1-57 15,1 29-15,-57 0-1,0-1 1,28 1-1,1 0 1,-29 0 0,0-1-1,0 1 1,0 0 0,0-1-1,0 1 1,0 0-1,0 0 1,-29 28 15,29-29-15,-28 29 0,0 0-1,-1-28 1,-27 28-1,28 0 1,-1 0 0,1 0 15</inkml:trace>
  <inkml:trace contextRef="#ctx0" brushRef="#br0" timeOffset="-133592.89">18686 10090 0,'0'57'156,"0"-29"-141,0 0 1,0 29-16,0-29 31,0 0-31,0 0 32,0 1-32,0-1 15,28-28 16,-28 28-15,0 0 0,0 1 31</inkml:trace>
  <inkml:trace contextRef="#ctx0" brushRef="#br0" timeOffset="-132396.68">18997 10062 0,'0'28'204,"0"0"-204,0 1 15,0 27 1,0-28-16,28 1 15,-28-1 1,0 0-16,0 0 16,0 1 15,29-29-15,-29 28-1,0 0 1,0 0 46,0 1-62</inkml:trace>
  <inkml:trace contextRef="#ctx0" brushRef="#br0" timeOffset="-130408.48">20552 10203 0,'-28'0'141,"-1"0"-78,1 0-48,0 28 48,28 1-32,-29-29-31,29 28 62,0 0-30,0 0-32,0 1 15,0-1 1,29 0 0,-29 0-1,0 1 1,28-1-1,0 0 1,29 1 0,-29 27-1,0-56 1,29 0 0,-29 0 15,0 0-16,1 0 1,-1 0 0,0 0-1,-28-28 1,57 0 0,-57-29-1,28 0 1,-28 29-1,28 0 1,-28-29 0,0 29-1,0 0 1,-28-57 0,28 57 15,0 0-16,-56-29 1,27 57 0,29-28-1,-56 0 1,27 28 15,1 0-15</inkml:trace>
  <inkml:trace contextRef="#ctx0" brushRef="#br0" timeOffset="-129263.04">21259 10005 0,'28'0'203,"0"0"-188,-28-28 1,28 0 0,1 28-1,-1 0-15,0 0 32,0 0-32,-28-29 15,29 29 1,-1 0-1,0 0-15,1 0 47,-1 0 0</inkml:trace>
  <inkml:trace contextRef="#ctx0" brushRef="#br0" timeOffset="-128067.46">21428 10288 0,'0'-28'125,"0"-1"-78,28 29 31,1 0-31,-1 0-47,0-28 15,1 28 48,-1 0-47,-28-28-1,28 28 32,0 0-31,1 0 15,-1 0 31</inkml:trace>
  <inkml:trace contextRef="#ctx0" brushRef="#br0" timeOffset="-126781.67">22022 9638 0,'0'28'172,"0"0"-141,0 29-15,0-29-1,28 29-15,0-1 16,-28 1-1,0-1-15,29 1 16,-1-1 15,-28 1-15,28-57 0,-28 28-1,0 0 1,0 1 15,0-1 0,0 0 16,28-28-47,-28 28 3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0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93.02325" units="1/cm"/>
          <inkml:channelProperty channel="Y" name="resolution" value="55.95855" units="1/cm"/>
          <inkml:channelProperty channel="T" name="resolution" value="1" units="1/dev"/>
        </inkml:channelProperties>
      </inkml:inkSource>
      <inkml:timestamp xml:id="ts0" timeString="2023-11-03T13:07:35.832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29739 4155 0,'-28'0'141,"0"0"-110,0 0 0,-1 0-31,1 0 16,-29-29 0,1 1-1,-57 28-15,0-85 16,-142 0-1,-112 1 1,169 55 0,-283-84-1,-141 0 1,283 85 0,-283-85 15,227 56-16,-595-84 1,85 85 0,425 27-1,-255 29 1,339 0 0,255 29-1,-29 27 1,85-56-1,29 28 1,-1-28 0,-28 29-1,29-29 1,-57 0 0,-85 0 15,141 0-16,-56 0 1,0 0 0,85 0-1,-57 0 1,0 0 0,57 0-1,-170 28 1,29 28-1,84-56 1,-113 29 0,28 27-1,-28 1 1,-56 28 15,84-29-15,86-56-1,-1 0 1,0 28 0,28 1-1,-27-1 1,-1 0 0,-28 29 15,0 56-16,56-28 1,-84 28 0,56 28-1,57-113 17,-1 0-17,29 1 1,0-1-1,0 0 17,0 1-17,0 27 1,0-28 0,0 1-1,0 27 1,0 29-1,0-57 1,57 57 0,-29 0-1,0-57 1,29 57 15,-29-29-15,1-27-1,27 27 1,1-28 0,-1 1-1,1 27 1,-1-28 0,-27-28-1,-1 29 1,57-1-1,-57-28 1,28 0 0,-27 0-1,27 0 17,29 0-17,56 0 1,-56 0-1,113 0 1,113 0 0,-170-28-1,114-29 1,-57 29 0,-113 0-1,84-1 1,29 1-1,-141 0 1,84 0 0,-56-1 15,-29 29-15,-27 0-16,27-28 15,114 0 1,-86 28-1,1 0 1,0 0 0,0-28-1,113 28 1,84 0 0,-140 0-1,-1 0 1,29 0-1,-142 0 17,57 0-17,28 0 1,-85 0 0,114 0-1,-58 28 1,-27-28-1,113 28 1,-1 0 0,-84 1-1,113-29 1,-29 0 0,-84 0-1,57 0 1,-29 0-1,-29 0 17,58 0-17,-1 0 1,-56 0 0,282 0-1,1 28 1,-227-28-1,29 0 1,28 28 0,-113 0-1,141-28 1,-57 29 0,-56-29-1,57 28 1,-57-28 15,-85 0-15,57 0-1,28 0 1,-56 0 0,28 0-1,-1 0 1,-27 0-1,56 0 1,57 0 0,-57 0-1,56 0 1,-84 0 0,-28 0-16,-29 0 15,29 0 16,27 0-15,-55 0 0,-1 0-1,0 0 1,0 0-16,1 0 16,27 0-1,29 0 1,-28 0-1,27 0 1,-55 0 0,-1 0-1,29 0 1,-29-28 15,0 28 0,0 0-15,1 0 0,27-57-1,29 1 1,0-1-16,56-28 16,57-56-1,-85 56 1,-85 57 15,1 0-15,-29-1-1,28-55 1,-28-1 0,0-28-1,-28 28 1,-57-113-1,28 113 1,1 57-16,27 0 16,-27-29-1,28 57 1,-1-28-16,-27 0 16,-29 28-1,28 0 1,1 0-1,-29 0 1,29 28 0,-1-28-1,1 28 17,56 0-32</inkml:trace>
  <inkml:trace contextRef="#ctx0" brushRef="#br0" timeOffset="6871.71">20891 13312 0,'-28'0'125,"28"28"-109,0 1 15,0-1-31,0 28 15,0 58 1,0-58-16,0 142 31,0-113-15,0-29 0,0-27-1,0-1 1,0 0-1,0 0 17</inkml:trace>
  <inkml:trace contextRef="#ctx0" brushRef="#br0" timeOffset="8499.09">21343 13538 0,'0'29'172,"-28"-29"-156,28 28 0,-28 28-16,0-56 15,28 57 1,-29-29-16,1 0 31,28 1-31,0-1 16,0 0-1,0 0 1,-28 1 0,28 27 15,0-27-16,0-1 1,0 0 0,0 0-1,0 1-15,0-1 32,28-28-17,-28 28-15,28-28 16,1 0 15,-1 0-15,0 0-1,0 0 48,-28-28 15,0 0 0,-28 28-47,0 0-15,28-29 0,-28 29-1,-1 0 16,29-28 1,-28 28-32</inkml:trace>
  <inkml:trace contextRef="#ctx0" brushRef="#br0" timeOffset="10538.58">21937 13567 0,'0'28'172,"0"0"-172,0 29 32,0-1-32,0 29 15,28 113 1,-28-113-1,0-57 17,0 57-17,0-57 1,0 0 0,0 0-1,0 1 32,0-1-16,29-28-15,-1 0 62,-28-28-31,0-1-16,28 1-31,0 0 31,-28 0 1,29-1-32,-1 29 15,0-28 1,0 0 15,1 28-15,-1 0 31,0 0-16,1 0 0,-29 28-31,0 0 63,0 1-48,0-1 17,0 0-1,-29 0-16,1-28 1,28 29 0,0-1-1,-28-28 1,-1 0 0,29 28-1,-28-28 1,0 0-1,0 0 1,28 28 0,-29-28 15,1 0 0</inkml:trace>
  <inkml:trace contextRef="#ctx0" brushRef="#br0" timeOffset="11695.56">22700 13877 0,'0'29'141,"0"-1"-94,0 0-47,0 1 15,0-1 1,0 0-1,0 0 17,0 1-32,0-1 15,0 0 32,0 0-31</inkml:trace>
  <inkml:trace contextRef="#ctx0" brushRef="#br0" timeOffset="12979.91">22729 13284 0,'-29'0'203,"29"28"-188,-28-28 17,56 0 93,-28 28-78,0 1-16,29-29-31,-29 28 15,0 0 32</inkml:trace>
  <inkml:trace contextRef="#ctx0" brushRef="#br0" timeOffset="16827.5">19251 15743 0,'0'28'203,"29"-28"-188,-1 57 1,28 56-16,1 28 16,0 0-1,-29-84-15,0-1 16,-28-27-1,28-1 1,-28 0 0,0 0 31,0-56-1,-28 0-46,0-57 16,-29 0 0,1-112-1,-29-143 1,28 171 0,57 141-1,-28-57 1,0 56-1,28 1 1,0 0 0,0 0 15,0-1 0,28 29 0,0 0-15,29 0 0,-29-28-1,57 28 1,0 0 0,-57 0-1,29 0-15,-1 28 16,-28 1 15,29-29 0,-57 28-15,28-28 15</inkml:trace>
  <inkml:trace contextRef="#ctx0" brushRef="#br0" timeOffset="18454.49">20071 15630 0,'29'0'204,"27"0"-189,1-28 1,-29 28-1,-28-29 1,28 29 0,0 0-1,-28-28 1,29 28-16,-1 0 31,-28-28-15,0 0-1,0-1 17,0 1-1,0 0-31,-28 28 16,-1-29 15,1 29-16,0 0 1,0-28-16,-1 28 16,1 0-1,0 0 1,0 28 15,-1-28-15,1 0-1,28 29 17,0-1-1,0 0-15,0 1 15,0-1-16,0 0 1,0 0 0,57 1-1,-57-1 1,28 0 0,0 0-1,-28 1 1,57-1-1,27 0 1,-55-28 0,-1 28-1,28-28 1,-56 29 15,29-29-15,-1 0-1</inkml:trace>
  <inkml:trace contextRef="#ctx0" brushRef="#br0" timeOffset="20464.75">20948 15545 0,'-29'0'203,"29"28"-172,-28-28-15,0 29-1,28-1 1,-28-28 0,-1 28-1,29 0 1,0 1-1,-28-29 1,28 28 15,0 0 1,0 0 14,28 1-30,1-29 15,-1 0 1,0 0-17,29 0 1,-1 0-1,-56-29 1,113-55 0,-85 27-1,-28 1-15,29 56 16,-1-57 0,0 29-1,-28 0 1,0-1-1,0 1 48,0 85 78,0-1-126,29-28-15,-29 29 16,0-1-1,28-27 1,0 27 0,-28 1-16,28-29 15,29 85 1,-29-28 0,-28-29-1,57 1 1,-29-1-1,-28 1 17,0-29-17,28 0 1,-28 1 0,0-1-1,0 0 1,0 0 15,0 1-15,-28-29-1,0 28 1,-1-28 0,1 0-16,0 0 15,-29 0 1,29 0-1,28-28 1,-28-1 0</inkml:trace>
  <inkml:trace contextRef="#ctx0" brushRef="#br0" timeOffset="22352.68">22418 15602 0,'-29'0'203,"1"0"-187,0 0 0,-29 0-16,-28 0 15,57 0 1,-28 0-16,27 0 15,-27 0 1,28 0 0,-1 0-1,1 0 17,0 28-17,-1 0 32,29 0-31,0 29-1,0-29 1,0 0 0,0 1-1,0-1 1,0 28-1,0 1 1,0 0 0,0-1 15,0-28-15,0 29-1,29-57 1,-29 56-1,0-27 1,28-29 0,-28 28-1,0 0 1,28-28 0,29 28-1,56 1 1,-57-29-1,114 0 1,-113 0 0,-1 0-1,-28 0 1,57 0 0,-57 0-1,1 0 1,-1 0-1,0 0 17</inkml:trace>
  <inkml:trace contextRef="#ctx0" brushRef="#br0" timeOffset="23608.81">22785 15856 0,'0'28'187,"0"0"-171,0 1 31,0-1-47,0 0 31,0 1-16,0-1-15,0 0 47,0 0-31,0 1 31,0-1 0</inkml:trace>
  <inkml:trace contextRef="#ctx0" brushRef="#br0" timeOffset="25687.29">23124 15884 0,'0'-28'94,"0"0"-31,-28 28 15,0 0-31,0 0-16,28-29-15,-29 29-16,1 0 93,28 29 1,0-1-78,0 0 15,0 0-15,0 1 15,28-29-16,-28 28 17,29 0-1,-1-28 16,0 0 0,0 0-32,1 0 17,-1 0-32,0 0 15,0 29 32,1-29-31,-29 28-1,0 0 1,0 0 46,0 1-46,0-1 31,-29-28-31,29 28-16,-28 0 46,0-28-14,0 0-17</inkml:trace>
  <inkml:trace contextRef="#ctx0" brushRef="#br0" timeOffset="35350.5">23718 15799 0,'-28'0'203,"28"-28"-187,0 0 15,0 56 125,0 0-93</inkml:trace>
  <inkml:trace contextRef="#ctx0" brushRef="#br0" timeOffset="36516.01">23661 16252 0,'-28'0'156,"28"-29"-31,28 29-109,-28 29 62,0-1-31</inkml:trace>
  <inkml:trace contextRef="#ctx0" brushRef="#br0" timeOffset="38214.9">24001 15997 0,'0'29'172,"-29"-29"-156,29 28-1,0 0 17,0 0-17,0 1 1,0-1 0,29-28-1,-29 28 16,28-28-15,0 0-16,0 0 47,1 0-31,-1 0 15,0 0-16,1-28 1,-1 0 0,0 28 15,-28-29-15,28 29-16,-28-28 15,29 0 16,-29 0 16,0-1-15,-29 29-17,1-28 32,0 28-31,0 0 31,-1 0-16,1 0 0</inkml:trace>
  <inkml:trace contextRef="#ctx0" brushRef="#br0" timeOffset="40153.22">24453 15658 0,'28'0'234,"1"0"-203,27 0-31,-28 0 16,1 0 0,-1 0-16,0 0 31,0 0-16,1 0 1,-1 0 0,0 0-1,0 0 17,1 0-17,-1 0 1,0 0-1,1-28 1,-1 28 15,0 0-31,0 0 32,1 28 30,-29 0-46,0 1-16,28 55 15,-28-27 1,0-29 0,28 57-1,-28-28 1,0-29-1,0 0 1,0 29 0,0-1-1,0 1 1,0-1 15,0-28-15,0 1-1,0 27 1,0-28 0,0 1-1,0-1 1,0 0 0,0 1-1,-28-29 1,0 0-1,28 28 1,-29 0 0,-27-28-1,56 28 17,-28-28-17</inkml:trace>
  <inkml:trace contextRef="#ctx0" brushRef="#br0" timeOffset="61310.73">25584 16563 0,'0'-29'187,"0"1"-171,0 0 0,0-29-1,0 29-15,0-29 16,0 1-1,28 28-15,0-29 16,-28 1 0,29-1-1,-1 29 1,-28 0 0,0-1-16,0 1 15,56-57 1,-27 29 15,27-29-15,-28 0-1,-28 29 1,29 27 0,-1 1-1,-28 0 16,28 28 16,-28 28-31,29-28 0,-29 85-16,28-57 15,0 85 1,-28-85-1,0 29 17,0-29-1,28-28 0,1 0 0,-1 0 1,-28-28-17,85-29 1,-85 29 0,84-57-1,-27 57 1,-29 0 15,-28 0-15,29 28-1,-1 0 17,-28 28 46,0 0-63,0 0 1,0 1-16,0-1 16,0 0-1,0 0 1,0 1-1,0-1 1,0 0 0,28 57-1,-28-28 1,0-1 0,0 1-1,0-29 1,28 0-1,-28 0 1,29-28 0,-1 0 15,-28 29-15,28-29-1,29 28 16,-1-28-15,1 0 0,28 0-1,-29 0 1,1 0 0,-29 0-1,0-28-15,0 28 31,1-29-15,-29 1-16,0 0 31,0 0 16,0-1-16,-29 29 48,29 29-33,0-1 33,0 0-33,29-28-14,-1 0-1,0 0 0,1 0-31,-1 0 16,0 0-1,-28-28 1,57 28-16,-29 0 16,0 0 15,29-28-15,-29 28-16,29 0 15,27 0 1,-27 28-1,-1-28 1,-27 0 0,27 0-1,-28 28 17</inkml:trace>
  <inkml:trace contextRef="#ctx0" brushRef="#br0" timeOffset="63117.65">28835 15432 0,'-29'0'203,"1"28"-188,-28-28 1,-1 0 0,-28 0-1,29 0 1,27 0 0,1 0-1,-28 0 1,56 29-1,-29-29 1,1 0 15,28 28 1,-28-28-17,28 28 16,0 29 1,0-29-32,0 28 15,0 1 1,0-29 0,0 57-1,0 0 1,0-29-16,0-27 15,0 55 1,0 1 0,0-57-1,0 1 1,0-1 0,0 0 30,0 0-30,28-28 0,0 0-1,-28 29 1,29-29 0,55 0-1,-55 0 1,-1 0-16,29 0 15,27 0 1,-27 0 0,-29 0-1,0 0 1,29 0 0,-29 0 15,1 0 0,-1 0 0</inkml:trace>
  <inkml:trace contextRef="#ctx0" brushRef="#br0" timeOffset="64815.91">28976 15884 0,'-28'0'109,"0"0"-78,28 28 16,-29-28-31,29 29 0,-28-29 15,28 28-31,0 0 31,0 1 0,0-1 1,0 0-17,28 0 16,1 1-15,-1-29 0,0 0 15,29 28-31,-29-28 16,28 0-1,-27 0 1,-1 0-1,0 0 1,1 0 15,-1-28-15,-28-1 0,28 29-1,0-28 1,-28 0-1,0 0 17,0-1-17,0 1 1,0 0 0,0-1-1,-28 29-15,28-28 31,-28 0-31,0 0 32,-1 28-17,1 0 1,0 0 0</inkml:trace>
  <inkml:trace contextRef="#ctx0" brushRef="#br0" timeOffset="65940.46">29626 15715 0,'0'28'312,"0"0"-249,0 0-16</inkml:trace>
  <inkml:trace contextRef="#ctx0" brushRef="#br0" timeOffset="67266.44">29683 16167 0,'-28'0'203,"28"-28"-141,28 28-15,0 0 0,-28 28 31</inkml:trace>
  <inkml:trace contextRef="#ctx0" brushRef="#br0" timeOffset="69477.33">30192 15715 0,'-29'28'172,"29"0"-172,0 0 16,0 1 0,0-1-1,-28 0 1,28 0-16,-28-28 31,28 29 0,0-1-15,28-28 46,29 0-30,-29 0-32,28 28 15,1-28 1,-29 0 0,1 0-1,-1 0 1,0 0-1,0 0 1,1 0 47,-1 0-17,-28-28 1,0 0-15,0-1 14,0 1-14,-28 28-1,28-28-15,0 0 15,0-1 0,0 58 110,0-1-126,0 0 17,0 0-32,0 29 31,0 0-31,0-29 31,0 0-31,0 0 16,0 1 15,0-1 0,0 0 32</inkml:trace>
  <inkml:trace contextRef="#ctx0" brushRef="#br0" timeOffset="71692.27">30418 15432 0,'-28'0'46,"28"28"-14,0 1 77,28-29-78,0 0-15,29 0 0,56 0-1,85 0 1,-57-29-16,57 29 15,-57-28 1,-28 28 0,-56 0-1,-29 0 1,0 0 0,1 0 30,-1 0-30,-28 28 47,0 29-48,0-1 1,-28 1-1,28 28 1,0-57 0,0 57-16,0-29 15,-29 29 17,29 0-17,0-29 1,-28 29-1,28-57 1,0 1 0,0-1-1,0 0 1,0 0 15,0 1-15,-28-29-1,28 28 17,0 0-17,0 0 1,0 1 46,0-1-46,-28-28 0,28 28 15,0 1 0,-29-29-15,29 28-1,-28-28 1,0 0 0,-1 0-1,-27 0 1,28 0 0,-1 0-1,1 0 1,0 0-1,0 0 1</inkml:trace>
  <inkml:trace contextRef="#ctx0" brushRef="#br0" timeOffset="88601.73">18912 15969 0,'-28'0'94,"28"-28"-47,-28-1-31,28-27-1,0-1 1,-29 29 0,29-85-1,-28 113 1,28-56-1,-28 27 17,28 1-32,0 0 31,0 0-15,0-1-1,-28 29 1,28-28-1,-29 0 1,1 28 0,28-29-1,-28 1 1,-1 0 0,-27 28-1,28 0 1,-170 0-1,-170 56 1,142 1 0,-254 0-1,253-1 1,171-56 15,-57 0-15,85 0-1,-1 0 1,1 0 0,0 0 15,28-28 0,0 0-15,28-1-16,-28 1 15,85-29 1,-29-27 0,29 55-1,0-27 17,-85 28-17,28 28 1,0 0-1,1 0 17,-1 0 15,0 0 15,-28 28 1,0 0-48,-28-28 1,28 28-1,0 1 1,-113-1 0,56 28-1,1-27 1,28-29 0,-29 0-1,57 28-15,-56-28 16,-29 28-1,56-28 1,1 0-16,28 29 31,-28-29-15,0 0 0,-1 0 15,1 0-16,0 0 1,28 28 0,-28-28 15,28 28 0,0 0 110,28 1-141,28-1 15,1 0 1,-29 0 15,-28 1-31,28-29 16,1 0 0,-1 28-1,-28 0 16,28-28 1</inkml:trace>
  <inkml:trace contextRef="#ctx0" brushRef="#br0" timeOffset="91305.07">6813 14641 0,'-28'0'93,"28"28"-61,0 0-17,0 29-15,56 169 16,29 198-1,0 113-15,-29-57 16,1-56 0,-29-56-1,-28-171 1,0-168 0,0 112-1,0-113 1,0 57-16,0 28 15,0 85 17,0 56-17,0-112 1,-28 56 0,28-85-1,0-85 1,0 0-1,0 0 1,0 1 15,0-1 16,0-56 47,0-1-78,0 1-1</inkml:trace>
  <inkml:trace contextRef="#ctx0" brushRef="#br0" timeOffset="96286.96">6728 14528 0,'0'28'140,"85"0"-93,-29 0-47,86 1 16,-57-1-16,28-28 15,-29 28 1,-27-28-16,0 0 16,-1 28-1,57 1 1,113-1-1,-56 0 1,169 0 0,-28-28 15,-170 0-15,86 0-1,55-28 1,-225 28-1,169-28 1,28 28 0,-169-28-1,283 28 1,254-57 0,-396 29-1,85 28 1,-170 0-1,-56 0 1,0-28 0,84 28 15,-84 0-15,0-29-16,0 29 15,84-28 1,-84 28-1,57-28 1,27 0 0,-112 28-1,141-29 1,-85 1 0,-57 28-1,1-28 1,-29 28-1,0 0 17,1 0-17,-1 0 1,0 0 0,29 0-1,27 0 1,-55 0-1,27 0 1,-27 0 0,-1 0-1,0 0 17,0 0-32,1 0 31,-1 0 16,0 28-16,-28 0 16,28-28-32,-28 29 1,29 27-16,-1 29 16,-28 113-1,0 480 1,0-395 0,0 28-16,0-170 15,-28 28 1,28-55 15,0-86-15,0 57-1,-29 28 1,29-57 0,0 114-1,-28-1 1,0-84-1,0 85 1,28-1 0,0-140-1,-29 55 1,29-55 0,0-1-1,0 0 16,0 29-15,0 27 15,0-55-15,0-1 0,0 0-1,0 1 1,0-1-16,0 28 31,0-27-15,0-1-1,0 0 1,0 0 0,0 1-1,0-1 1,0 0 15,0 0-15,29 1-1,-29-1 1,0 0 31,0 0-32,0 1 48,-29-29-32,1 28-15,0-28-1,-57 28 1,-254 1 0,0-1-1,169-28 1,-28 0 0,-141-57-1,141 29 1,-113-85-1,141 113 1,142-28 0,-85 28-1,28 0 1,0-29 0,1 29 15,-29 0-16,56 0 1,-28 0 0,-56 0-1,28-28 1,-57 28 0,-28 0-1,113 0 1,1-28-1,-1 28 1,57 0 0,-1 0-16,1 0 15,0 0 17,-1 0-17,1 0-15,0 0 16,0 0-1,-1 0 1,-55 0 0,-1 0-1,28 0 1,-28 0 0,29 28-1,-1-28 1,-56 28-1,-56 1 1,112-1 0,-56-28 15,28 0-15,57 0-1,-57 0 1,29 0-1,27 0 1,-27 28 0,-29-28-1,28 0 1,-27 0 0,-1 0-1,57 0 1,-57 0-1,0 28 1,57-28 15,-57 0-15,0 29 0,57-29-1,0 28 1,-1-28-1,1 0-15,-29 0 32,29 28-17,0-28-15,0 0 16,-1 0 0,1 0-1,0 0-15,0 0 16,28 29-1,-29-29 1,1 0 31,0 0-31,-1 0-1,1 28 1,0-28-1,0 0 1,-1 0 0,1 0-1,0 0 1,0 0 46,-1 0-46</inkml:trace>
  <inkml:trace contextRef="#ctx0" brushRef="#br0" timeOffset="99801.7">7039 15743 0,'28'0'219,"1"28"-219,55-28 16,-55 0-1,55 0-15,1 0 16,28 0 0,57 0-1,0 0 1,-57 0-1,56-28 1,-112 0 0,28 28-16,28 0 31,0-29-15,-28 29-1,-29-28 1,29 28-1,-29 0 1,1 0 0,28 0-1,113 0 1,-142 0 0,114 0-1,-29 0 1,-28 0-1,170 28 1,0-28 15,-198 0-15,84 29 0,-28-29-1,-84 0 1,84 0-1,-56 28 1,-28-28 0,28 28-1,-1-28 1,-27 0 0,-1 28-1,29-28 1,0 29-1,0-29 17,84 28-17,-112-28 1,113 28 0,-57-28-1,-57 0 1,29 0-1,-57 0 1,1 0 0,-1 0-1,28 0 1,-27 0 0,55 0-1,1 0 1,-56 0 15,55 0-15,1 0-1,-28 0 1,27 0 0,1-28-1,-28 28 1,-1 0-1,-27-28 1,-1 28 0,0 0-1,29 0 1,-29 0 0,0 0-1,29 0 1,-1 0 31,-27 0-32,-1 0 1,0 0 0,0 0 15,1 0-31,-1 0 31,0 0-15,0 0 46,1 0-31,-1 0-15,0 0 62,1 0-31,-1 0 31,0 0-47,0 0 16,-28 28-31,29-28 15,-1 0 0,0 0 63</inkml:trace>
  <inkml:trace contextRef="#ctx0" brushRef="#br0" timeOffset="103789.65">7209 16732 0,'28'0'281,"28"0"-281,-27 0 16,56 0-1,-57 0 1,141 0 0,86 0-1,56 0 1,622 0-1,-453 0 1,-338 0 0,56 0-1,-57 0 1,-56 28 0,84 1 15,1-1-16,-114-28 1,142 28 0,-56-28-1,-57 0 1,56 0 0,28 28-1,-112-28 1,84 0-1,-56 0 1,-57 0 0,57 29-1,-28-29 1,-1 0 0,1 28 15,28-28-16,-29 0 1,29 0 0,0 0-1,-29 0 1,86 0 0,-29 0-1,-57 0 1,29 0-1,0 0 1,-29 0 0,29 0-1,-28 0 1,-29 0 15,29 0-15,-29 0-1,0 0 1,57 0 0,-57 0-1,1 0 1,-1 0 0,28 0-1,-27 0 1,-1 0-1,0 0 1,0 0 15,1 0-15,-1 0 15,0 0-15,0 0-1,1 0 48,-1 0-32,0 0 16,1 0 31,-1 0-47,-28 28 32</inkml:trace>
  <inkml:trace contextRef="#ctx0" brushRef="#br0" timeOffset="107185.36">7180 17580 0,'0'28'156,"29"-28"-109,-1 0-31,57 29-1,0-1-15,-29-28 16,57 28 0,-28 0-16,0-28 15,-57 29 1,0-29 0,57 28-1,-57-28 1,57 0-1,-28 28 1,-1-28 0,1 0-1,28 0 1,-29 0 0,1 0-1,56 0 1,-28 0-1,56 0 1,29 0 0,-114 0 15,85 0-15,1 0-1,-57 0 1,84 0-1,114 0 1,-198 0 0,56 0-1,-56 0 1,-29 0 0,29 0-1,85 0 1,-114 0-1,114 0 1,-57 0 0,-56 0 15,112 0-15,-56 0-1,-56 0 1,84 0-1,29 28 1,-85-28 0,-1 0-1,1 29 1,-28-29 0,28 0-1,-1 0 1,-27 0-1,28 0 1,-29 0 0,-27 0 15,-1 0-15,28 0-1,-27 0 1,27 0-1,-28 0 1,1 0 0,-1 0-1,0 0 1,1 0 0,27 0-1,29 0 16,28 0-15,-85-29 0,0 29-1,29 0 1,0 0 0,-29 0-1,28 0-15,-27 0 16,27 0-1,-28 0 1,1 0 0,-1 0-1,0 0 1,1 0-16,-1 0 16,0 0-1,0 0 1,1 0-1,27 0 17,-28 0-1,1 0-15,-1 0-1,0 0 1,0 0-1,1 0 1,-1 0 0,0 0 77,1 0-30,-1 0-16,0 0 62</inkml:trace>
  <inkml:trace contextRef="#ctx0" brushRef="#br0" timeOffset="113092.49">6728 14556 0,'0'-28'219,"0"-1"-219,0 1 16,0 0-1,0-1-15,0 1 16,0 0 0,0 0-1,0-29 1,0 29 15,0 0-15,0-1 31,0 1-16,0 0 0,0 0 0,0-1 1,0 1 30,0 0-15,0 0-16,28 28 79,1-29-95,27 29 1,-28 0-16,1 0 15,-1 0 1,29-28 0,-1 28-1,-28 0 1,1 0 0,-1 0-1,0 0 1,57 0-1,0 0 1,-29 0 0,29 0-1,0 0 1,-57 28 0,57-28-1,0 0 16,0 0-15,28 0 0,56 0-1,-140 0 1,112 29 0,-56-29-1,-57 0 1,142 0-1,-57 0 1,-57 0 0,57 0-1,0 0 1,-28 0 0,28 28-1,57-28 1,-114 0 15,114 28-15,-57-28-1,-56 0 1,84 0 0,-28 0-1,-56 0 1,27 0-1,-27 0 1,0 0 0,56 0-1,-57 0 1,-28 0-16,57 0 16,0 0 15,-28 0-16,-1 0 1,29 0 0,0 0-1,-57 0 1,57 0 0,-29 0-1,1 0 1,28 0-1,-1 0 1,-27 0 0,28 0-1,0 0 1,-29 0 15,-28 0-15,57 0-1,-56 0 1,55 0 0,1 0-1,-57 0 1,29 0 0,-29 0-1,29 0 1,-1 0-1,-27 0 1,-1 0 0,0 0-1,29 0 1,-29 0 15,0 0-15,0 0-1,29 0 17,-29 0-17,1 0 1,-1 0 0,0 0 15,0 0-31,1 0 15,-1 0 1,0 0 0,0-28 15,1 28-15,-1 0-1,0 0 1,0-28-1,1 28 1,-1 0 0,0 0 15,1 0-31,-1 0 16,0 0 15,0 0-16,1 0 1,-1 0 0,0 0-1,0 0 1,1 0 0,-1 0 46,0 0-46,1 0 15,-1 0 16,0 0-16,0 0 32,1 0-32,-1 0-16,0 0 48,0 0-47,1 0-1,-1 0 1,0 0-1,0 0 1,1 0 0,-1 0-1,0 0 17,1 0-1,-58 0 172,1 0-172,28 28-15,0 0 15,0 0-31,-28 1 16,28-1-1,-29-28 1,29 28 0,0 0 15,0 1-16,0-1 1,0 0 31,0 0-31,0 1 30,0-1-30,0 0 15,0 0 32,0 1-1,29-29 32,-1 0-16,0 0-31,1 0 0</inkml:trace>
  <inkml:trace contextRef="#ctx0" brushRef="#br0" timeOffset="116237.54">5682 14217 0,'-28'28'141,"0"-28"-63,-1 0-47,29 28 0,-28-28 1,28 28-32,-28-28 31,28 29 0,0-1-15,0 0-1,28 0 1,-28 1 0,57 27-1,-1-27 1,-56-1-1,57-28-15,-29 0 16,57 56 0,-29-56-1,-27 0 1,-1 0 15,28 0-15,1 0 15,-29 0-15,0-28-1,1 28 1,-29-28 0,28 28-1,0-28 1,-28-1-1,29 29 17,-29-28-32,0 0 31,0-1 0,0 1-15,-29 0-1,-27 0 1,56-1 0,-113 1-1,56 0 1,29 0 0,0 28-1,-1 0 1,1 0-1,0 0 17</inkml:trace>
  <inkml:trace contextRef="#ctx0" brushRef="#br0" timeOffset="117645.09">5937 14980 0,'0'28'172,"0"0"-109,-29 1-63,29-1 15,0 0 1,0 0-16,0 1 31,0 27-31,0-28 16,0 29 0,0-29-1,0 29 16,0-29 1,0 0-1</inkml:trace>
  <inkml:trace contextRef="#ctx0" brushRef="#br0" timeOffset="119382.83">5852 16026 0,'28'0'219,"29"0"-219,-1-29 15,-28 29 1,29 0-1,-1 0 1,-27 0 0,-1 0-1,0 0 32,-28 29-31,29-29-1,-29 28 1,0 0 0,0 0-1,0 29 1,-29 28 15,1-29-15,28-28-1,-28 29 1,-1-29 0,29 0-1,0 1 1,-28-29 0,28 28-1,-28 0 16,28 1 63,28-29-47,0 0-31,1 28-16,-1-28 31,0 0-31,1 0 16,-1 0-1,0 0 16,0 0 48,1 0-79</inkml:trace>
  <inkml:trace contextRef="#ctx0" brushRef="#br0" timeOffset="122657.21">6106 16986 0,'28'-28'218,"29"28"-202,-29 0 0,1 0-1,-1-28 1,0 28 15,0 0-15,-28 28 62,0 0-62,0 1 15,0-1-16,-28 0 17,28 1 30,0-1-15,28-28 47,1 28-79,-1-28 1,0 0-16,0 0 63,-28 28-48,29 1 16,-29-1 16,0 0-47,-29-28 16,29 28 0,0 1-1,-28-29 1,28 28-1,-28-28-15,0 0 47,28 28-47,0 0 47</inkml:trace>
  <inkml:trace contextRef="#ctx0" brushRef="#br0" timeOffset="124606.29">6276 18145 0,'-28'29'219,"-1"-1"-172,1 0-16,28 0-31,0 1 31,-28-29-31,28 28 16,-29 0-1,29 0 48,-28 1-47,0-29 30,28 28-30,-28 0 15,28 0 16,-29-28-16,29 29-31,0-1 47,-28-28-15,56 0 108,-28-28-124,0-1-16,29 1 15,-29 0 1,0 0 15,28 28-31,-28-29 16,28 1 0,-28 0-1,0 0-15,0-1 31,0 1-31,0 0 16,0 0 0,0-1-1,28 29 1,-28-28 31</inkml:trace>
  <inkml:trace contextRef="#ctx0" brushRef="#br0" timeOffset="126575.28">6134 18117 0,'0'28'250,"-28"29"-235,28-29 17,-28 0-17,0 1 17,28-1-17,0 0 1,0 0 46,0 1-30,0-1 61,0 0-61,28-28 30,-28 28-46,28-28-16,0 0 15,1 0 1,-1 0 0,0 0-1,1 0 16,-1 0-31,0 0 16,0 0 0,1 0-1,-1 0 17,0 0-32,0 0 15,1 0 1,27 0-16,-28 0 15,29 0 1,-29 0-16,-28-28 16,29 28-1,-1 0-15,0 0 16,0-28 15,1 28-31,-1 0 63,0 0-16,-56 0 46,0 0-61,-1 28-32,1-28 15,0 0 1,0 0-1,-1 0-15,1 0 16,-29 28 0,29-28-16,-28 29 15,27-29 1,1 28-16,0-28 31,0 0-31,-1 0 16,1 28 46,0-28-30,0 0-1,28 29 0,-29-29 0,1 0 1,0 0 61</inkml:trace>
  <inkml:trace contextRef="#ctx0" brushRef="#br0" timeOffset="127730.66">6163 18626 0,'28'0'235,"0"0"-220,1 0 1,-1 0-1,0 0 17,0 0 30,1 0-31,-1 0 32,0 0-32,0 0-15,-28-28 46,29-1-46,-29 1 31,28 0-32,-28-1 32,0 1-15,0 0-1,0 0 16,0-1-16,0 1 31</inkml:trace>
  <inkml:trace contextRef="#ctx0" brushRef="#br0" timeOffset="128845.73">6502 18343 0,'0'28'250,"0"1"-219,0-1 0,0 0-31,0 0 32,0 1-17,0-1 1,0 0-1,0 1 17,0-1-17,0 0 32,0 0-31,0 1 46,0-1-30,0 0-1,0 0 16,0 1 0,0-1 46,0 0 1</inkml:trace>
  <inkml:trace contextRef="#ctx0" brushRef="#br0" timeOffset="134492.46">20891 17326 0,'85'0'157,"593"-255"-142,736-84 1,-764 198-16,-254 84 15,-198 1-15,-142 56 16,29-29 0,0 29-1,-57 0 1,113 0 0,510-113-1,27-28 1,340-28-1,-453 112 1,-310 57 15,84-85-15,-28 57 0,-255 28-1,142-28 1,0 28-1,-113 0 1,113 0 0,-29 28-1,-84 0 1,85 29 0,84-29-1,142 85-15,85-28 16,-86 0-1,-253-57 17,-86-28-17,1 28 1,28 29 0,-29-57-1,1 28 1,-1 0-1,-28 0-15,-28 1 16,85-29 0,-56 28-1,-1 0-15,28 29 16,29-1 0,-28-27-1,-1 27 1,29-28 15,-57 1 0,1-1-15,-29 0 31,0 0-16,-29-28 32,-27 0-48,-29 0-15,-85 0 16,-847-56-1,112-57 17,-113 113-17,538 28 1,338 0 0,-55 1-1,-114 55 1,169-84-1,-423 85 1,-198 28 0,508-28-1,-56-28 1,170-1 0,84-56-1,-28 28 1,-141 1 15,57-1-15,-481 85-1,367-56 1,198-29 0,-56 0-1,84-28 1,29 0-1,-57 28 1,0 1 0,57-29-1,-85 0 1,0 28 0,0-28-1,-85 0 16,28 0-15,142 0 0,-57 0-1,-56 0 1,84 0 0,-84 0-1,56 0 1,29 0-1,-29 0 1,57 0 0,-1 0-1,1 0 1,0 0 0,-1 0-1,1 0 48</inkml:trace>
  <inkml:trace contextRef="#ctx0" brushRef="#br0" timeOffset="172849.32">5823 13114 0,'-56'0'156,"-1"0"-125,29 0-31,-57 0 16,1 0-1,27 0-15,-28 0 16,29 0 0,-57 29-1,28-1 1,0 0-16,28 29 15,-112 27 1,-1 143 0,85-114-1,-56 56 1,56 57 15,57-169-15,-29 112-1,29-84 1,28-57 0,-28 29-1,28 28 1,0-29 0,0 57-1,0-28 1,28-28-1,29 84 1,56 0 0,-28-84 15,28 56-15,56-28-1,-84-57 1,85 29-1,28-57 1,-142 0 0,114 0-1,-142 0 1,57 0-16,-29 0 16,29 0-1,85-57 1,-114 0-1,114-27 1,-57 27 0,-56 29 15,-29 28-15,28-57-1,-27 57 1,84-56-1,-29-1 1,-55 1-16,27 27 16,29 1-1,-85 0 1,57 0 0,-57-1-1,0 1 1,28 0-16,0-29 15,0-27 1,-28 27 15,0 1-31,0 27 16,0-56 0,0 29-1,-56-29 1,-1-84-1,-27 27 1,55 86 0,-169-170-1,57 113 1,-57-29 0,29 57-1,140 57 1,-84-28-1,57 56 17,27 0-17,29-29 1,-28 29 0,0 0-1,28-28 1,-28 28-1,-1-28 32,1 28 16,28-28-48,0-1 32</inkml:trace>
  <inkml:trace contextRef="#ctx0" brushRef="#br0" timeOffset="181558.3">16340 17524 0,'-29'28'141,"1"-28"-94,28 28-16,-28-28-15,28 28-16,-57 1 15,57-1 1,-28 28-16,0-56 16,0 57-1,28-29 1,-29 29 0,1-1-1,28-28 16,0 1-15,0 27 0,0-27-1,0 27 1,28-56 0,1 28-1,-1 1 1,57-29-1,-57 0 1,57 0 0,-1-29-1,-55 1 17,-1 0-17,0 0 1,29-29 15,-29-28-15,-28 57-1,0-29 1,0 1 0,-28 56-1,28-28 1,-28-1-1,-1 29 48,1-28-47,0 28-16,-1 0 31,1 0-16,28-28 1,-28 28 0,0 0-1,-1 0 1,29-28 15</inkml:trace>
  <inkml:trace contextRef="#ctx0" brushRef="#br0" timeOffset="183161.18">16905 17750 0,'0'28'141,"0"28"-94,-28-27-32,28-1-15,0 28 16,0-27 0,0 27-16,0-27 15,0-1 16,0 0-31,28-28 110,0-28-79,1 28-31,-1 0 16,-28-28-1,0-1-15,28 29 16,-28-28 0,28 28-1,-28-28 1,0-1 31,29 29 15,-29 29-31,28-1-15,-28 0 0,0 1-1,28-29 1,-28 28 15,0 0-15,28-28 31,-28 28-16,0 1 0,0-1-15</inkml:trace>
  <inkml:trace contextRef="#ctx0" brushRef="#br0" timeOffset="185385.81">17442 17213 0,'0'28'156,"0"0"-140,-28 0-16,28 29 16,0-1-1,0 29-15,0 0 16,0 0 0,0 28-1,0-57 1,0-27-1,0-1 1,0 0 0,0 57-1,0 28 1,0-85 0,0 29 15,0-29-16,0 0 1,0 1 15,0-1 1,0-56 77,0-1-93,0 1-1,0-28 1,-28 27-1,28 1 1,-29 0 0,29 0 15,0-1-15,-28 1 15,0 28 0,0-28-15,28-1-1,-29 1 17,29 0-1,-28 28-16,28-28 1,28 28 93,1 0-93,27 0-16,1 0 16,-1 0-1,-28 0 17,1 0-17,-1 28 1,0-28-1,1 0 1,-1 28 31,0-28-16,0 0 16,1 0 31,-1 0-47</inkml:trace>
  <inkml:trace contextRef="#ctx0" brushRef="#br0" timeOffset="188519.47">18036 17750 0,'-28'0'62,"28"-29"48,28 29-63,0 0-32,0 0-15,29 0 16,-29 0-16,0 0 31,1 0-15,-29 29-1,28-29 1,0 0 0,1 0 15</inkml:trace>
  <inkml:trace contextRef="#ctx0" brushRef="#br0" timeOffset="189816.5">17979 18174 0,'29'0'218,"-1"0"-186,0 0-32,0 0 31,1 0-16,-1 0-15,0 0 47,0 0-31,1 0 15,-1 0-31,0 0 16,1 0 15,-1 0 0,0 0 32</inkml:trace>
  <inkml:trace contextRef="#ctx0" brushRef="#br0" timeOffset="193000.73">18686 18202 0,'0'-28'219,"0"-1"-204,0-27-15,28 28 16,-28-1-1,29-27 1,-29 27 0,28 1-1,0-28 1,-28 27 0,0 1 15,0 0-16,28 28 17,1 0 46,-29 28-47,0 0-15,28 29-16,-28-29 15,28 29 1,-28-29 0,0 0 15,28-28-16,-28 29 1,29-29 47,-29-29-48,28 29-15,0-56 31,1-1-31,-1 57 16,0-56 0,-28 27-1,28 1 1,1 0 0,-29 0-1,28 28 16,-28 28 126,0 0-126,0 0-15,0 1-1,0-1 1,0 0-16,0 0 15,0 1 17,0-1-17,0 0 1,0 1 0,0-1 15,0 0 31,0 0-15,28-28 31,0 0-46,1 0-1,-1 0 0,0 0-31,0 0 16,1 0-1,-1 0 1,29 0-16,-1-28 16,-28 0-1,29 0-15,-1 28 31,-27-29-15,-1 1 0,0 0-1,-28-1 63,-28 29-62,0 0 15,-1 0 16,29 29 63,0-1-79,29 0 0,-1-28-15,0 0-1,-28 29-15,29-29 16,-1 28 0,0-28 15,0 0-16,1 0 1,-1 0 0,0 0-1,0 0 17,1 0-17,-1 0-15,0 0 16,1 0 15,-1 0 0,0 0 1,0 0-1,1 28-16,-1-28 1,0 0 0,-28 28-1,28-28 1</inkml:trace>
  <inkml:trace contextRef="#ctx0" brushRef="#br0" timeOffset="195189.74">21202 17778 0,'-28'0'187,"-1"0"-171,1 0 0,0 0-1,0 0 1,-29 0-1,1 0 1,27 0 0,1 28-16,0-28 15,0 0 1,-1 0 0,1 0 15,0 0 16,28 28-16,-29-28-15,29 29-1,0-1 1,0 0-1,0 0 1,0 1 0,0-1-1,0 29 1,0-29 15,0 0-15,0 0-1,29 1 1,-29-1 0,0 0-1,0 0 17,0 1-1,0-1 0,28-28-15,-28 28-1,28-28 1,1 0 0,-1 0 15,0 0-16,0 0 1,1 0 0,-1 0-1,0 0 1,0 0 0,-28 28 15,29-28-16</inkml:trace>
  <inkml:trace contextRef="#ctx0" brushRef="#br0" timeOffset="196958.08">21202 18061 0,'0'28'203,"0"0"-187,-28-28 0,28 28 15,0 1 0,0-1 0,28 0 63,0-28-94,1 0 31,-1 0-31,0 0 16,0 0 15,1 0-15,-1 0 15,0 0-31,0 0 16,-28-28 15,29 28-15,-29-28-1,0-1 16,0 1 16,0 0-15,-29 28 14,1-28-30,0 28-16,0 0 31,-1 0-31,1 0 32,0 0-17,0 0 1</inkml:trace>
  <inkml:trace contextRef="#ctx0" brushRef="#br0" timeOffset="198756.36">21428 17863 0,'28'0'203,"1"0"-156,-1 0-47,0 0 31,1 0-16,-1 0 1,0 0 15,0-29-15,1 29 31,-1 0-16,0 0 16,-28 29 0,28-1-47,-28 0 15,0 0 1,0 1 0,29-29-1,-29 28-15,0 29 16,0-29 0,0 0-1,0 29 1,0-29-1,0 28 1,0-27 0,0-1-1,0 0 1,0 0 31,0 1-16,0-1 0,0 0 32,0 0-48,-29 1 79,1-29-63,0 0-15,0 28-16,-1-28 16,-27 0-1,28 0 1</inkml:trace>
  <inkml:trace contextRef="#ctx0" brushRef="#br0" timeOffset="207012.98">7378 13906 0,'-28'0'47,"0"0"31,-1 0-31,1 0-16,0 0 1,0 0-17,-1 0 1,1 0-1,0 0 1,0 0 0,-1 0 15,1 0 16,0 0-16,28 28 0,-28-28-15,28 28 0,-29-28-1,1 0 1,28 29-1,-28-29 32,-1 0-15,29 28-32,0 0 31,-28-28-16,0 28 17,28 1-1,-28-29-15,28 28-1,0 0 16,0 0-15,0 1 31,-29-1-31,29 0-1,0 0 32,-28 1-31,28-1 31,0 0-32,0 0 16,0 1-15,0-1 0,28-28-1,-28 28 1,0 1 0,29-1 30,-1-28-30,-28 28 0,28-28-1,-28 28 1,28-28 15,1 0 0,-29 29-15,28-29 15,0 28-15,1-28 0,-1 0 15,0 0-16,0 0 1,1 0 0,-1 0-1,28 0 1,-27 0 0,-1 0-1,0 0 1,0-28-1,1 28 17,-1-29 15,0 1-32,-28 0 1,29 28 15,-29-28-31,28 28 16,-28-29-1,28 29 1,-28-28 0,0-29-1,28 29 16,-28 0-31,0 0 32,0-1-17,0 1 1,0 0 15,0 0-15,0-1-1,0 1 1,0 0 0,0 0-1,0-1 1,0 1 0,0 0 15,0 0 0,0-1-15,0 1 15,-28 28 0,28-28 0,-28 28-31,0 0 16,28-29 0,-29 29-1,1 0 17,0 0-17,-29 0 1,29 0 15,0 0-15,28 29 15,-29-29-15,1 0-1,0 0 16,28 28-15,-28 0 15,-1 1 1,29-1 30,-28 0-46,0-28 15,28 28 0,0 1-15,-28-1-1,-1-28 1,29 28 0,-28-28-1,28 28 1,0 1 31,-28-29-16,28 28 16</inkml:trace>
  <inkml:trace contextRef="#ctx0" brushRef="#br0" timeOffset="-211834.45">15944 16534 0,'0'29'172,"0"-1"-156,0 0-16,28 29 15,0-29 1,1 28-16,-1 1 15,0-29 1,-28 29 0,57 27-1,-1 1 1,-56-56 0,29-1-1,-29 0 1,0 0-1,28 1 1,-28-1 0,28-28 15,-28 28 16,-28-28 31,0 0-62,-1 0-1,1-28-15,28 0 16,-28-1-1,0 29 1,-1 0 0,29-28 15,-28 28 0,28-28-15,-28 28-1,56 0 110,-28 28-109,28-28 0,1 0-16,-29 28 31,28 1-15,0-29-1,0 28 16,1-28 1,-1 0-17,0 0 17,0 0-1,1 0-31,-1-28 31,0-1 0,0 29-31,-28-28 16,29 0 15,-1 28-15,-28-28-1,0-1 17,0 1-17,28 28 1</inkml:trace>
  <inkml:trace contextRef="#ctx0" brushRef="#br0" timeOffset="-210607.03">16509 16252 0,'0'28'172,"0"28"-156,0-27-1,0-1 1,0 0-16,0 0 31,0 1 0,0-1-15,0 0 31,0 1-31,0-1 46,0 0-31,0 0-15</inkml:trace>
  <inkml:trace contextRef="#ctx0" brushRef="#br0" timeOffset="-208740.24">16933 16252 0,'0'28'156,"0"28"-125,0-27-15,0 27 0,0 29-16,0-57 15,0 29 1,0-29 0,0 57-1,0-57 1,0 0-1,0 1 1,0-1 47,0-56 30,0-1-77,29 29 15,-1-28-15,0 0 31,0 28-47,1 0 31,-29-28-15,28 28-1,0 0 1,0 28 31,1 0-32,-1-28 1,-28 28 0,0 1-1,0-1 1,0 0-16,0 0 31,0 1-15,0-1-1,-28-28 17,-1 0-17,1 0 1,0 0-16,0 0 15,-1 0 17,1 0-17,0 0 1,0 0-16,-1 0 16,1 0-1,0 0 1,0 0 31,28-28-32</inkml:trace>
  <inkml:trace contextRef="#ctx0" brushRef="#br0" timeOffset="-203796.65">22672 17891 0,'-28'0'204,"-1"0"-189,1 0 1,0 0-1,-29 0 1,29 0 0,0 0-16,-29 0 31,29 0 16,0 0-32,0 0 1,-1 0 62,1 0-47,0 0 48,28 28 30,0 0-93,0 1-16,0-1 31,0 0-31,0 1 31,0-1-31,0 28 31,0 1-31,28-1 16,29 114 0,-29-29-1,0-84 16,-28-1-15,0-27 0,0-1-1,0 0 1,0 0 0,0 1 15,0-1-16,28-28 1,-28 28 47,29-28-32,-1 0-16,0 0-15,29-28 16,-1 0 0,1-1-1,-1 1 1,-27 28 0,-1 0-1,28-28 1,-27 28-1,-1-28 17,0 28-17,0 0 1,-28-29 0,29 29-1,-1 0 16</inkml:trace>
  <inkml:trace contextRef="#ctx0" brushRef="#br0" timeOffset="-202119.47">22870 18061 0,'0'28'125,"0"0"-94,0 0 16,0 1-31,0-1 0,0 0-1,0 0 1,0 29-1,0-1 1,0-27 0,0-1-16,28 0 31,-28 0-15,0 1-1,0-1 32,0 0-16,0 1 32,28-29-1</inkml:trace>
  <inkml:trace contextRef="#ctx0" brushRef="#br0" timeOffset="-199929.11">23237 18089 0,'-28'0'234,"28"28"-234,-28-28 16,0 0 31,-1 0-32,1 0 16,0 0 1,0 0-1,28 28 47,0 1 47,0-1-109,28 0 46,-28 0-15,28-28-31,-28 29-1,28-29 48,1 0-32,-1 0 16,0 0-31,0 0-1,1 0 32,-1 0-16,-28 28-15,0 0 15,0 0 16,0 1-31,0-1-1,0 0 17,0 0-17,0 1 32,-28-1-31,28 0 15,-29-28 0</inkml:trace>
  <inkml:trace contextRef="#ctx0" brushRef="#br0" timeOffset="-197688.64">23322 17778 0,'28'0'187,"1"0"-171,27 0-16,29 0 16,28 0-16,-56 0 15,-29 0 1,29 0-1,-1 0 1,-28 0 0,1 0-1,-1 0 1,0 0 15,0 0 0,-28 28 1,29-28-17,-29 28 17,0 1-17,0 27 1,0-28-1,0 29 1,-29 28 0,29-29-1,-28 29 1,28-28 0,0-29 15,-28 0-31,28 0 15,0 1 17,0-1-17,0 0 1,0 0-16,0 1 31,0-1-15,0 0-16,0 1 31,0-1-15,0 0 31,0 0-16,0 1 0,0-1 47,0 0-47,0 0 48,0 1-17,-28-29-46,-1 0-1,1 0 17,0 0-17,0 0 1,-1 0-1,1 0 1,0-29 0,-1 29-16,1 0 31,0 0 0</inkml:trace>
  <inkml:trace contextRef="#ctx0" brushRef="#br0" timeOffset="-175396.01">17499 169 0,'-29'29'140,"29"27"-77,-28 1-63,0 27 15,-57 143 1,29 112-16,-29-57 16,56-140-1,-27 56 1,56-142 0,0-28-1,0 1 16,0-1 32,28-28-1,-28-28 17,0-1-48,0 1 0,0 0-15,0 0-16,0-1 31,-28 1-31,28 0 31,-28 0-31,28-1 16,0 1 15,0 0-31,-29 28 16,29-29-1,-28-27 1,28 28 15,0-1-15,-28 29-16,0-28 31,28 0-15,-29 28-1,29-28 32,-28 28-31,28-29 15,0 1 0,57 28-15,27 0 0,-27-28-16,56 28 15,-28 0 1,0-28-16,-1 28 31,-55 0 0,-1 0-15,0 0 46</inkml:trace>
  <inkml:trace contextRef="#ctx0" brushRef="#br0" timeOffset="-172010.7">17781 1159 0,'29'0'219,"-1"0"-188,0 0-15,-28-29-1,28 29 32,-28-28-47,0 0 16,0 0 15,0-1 31,-28 29-15,0 0-31,0 0 0,-1 0-1,1 29 1,0-1 15,28 0-15,-28-28-1,28 28 1,0 1-16,0-1 31,0 0-15,0 0-1,0 1 1,28-1 0,28 0-1,-27-28 1,-1 28 0,0 1-1,0-29 1,1 0-1,-1 0 1,0 0 0,57 0-1,-28-57 1,-1 1 0,29-57 15,-28 84-16,-57 1 1,28 0 0,0 28 15,0 28 47,1-28-47,-29 28-31,0 1 16,28-1 0,-28 0 15,0 0 0,28-28-15,0 0 31,1 0 31,-1 0-47,0 0 16,0 0-16,1 0-15,-1 0-1,0 0 1,1 0 15,-1 0-31,0 0 16,-28-28-1,28 28 1,1-28 15,-29 0 1,28 28 14,-28 28 1,28 0-47,-28 29 16,28 84 0,-28-56-1,29 0 1,-29-29-1,0-28 1,0 1 0,0-1 15,0 0 16,0-56 15,0-29-62,0-56 16,0 57 0,-29-57-16,29-29 15,0 29 1,-28 29-16,28 27 15,0 0-15,0 1 16,0-29 15,0 57-15,0-29 15,0 29 16,28 28 16,1 0-48,-1 0 16,29 28-31,-57 1 16,28-1 0,0 0-1,0 0 1,-28 1 31,0-1-32,0 0 1,0 0 15,-28 1 1,0-29-32,28 28 31,-57 0-31,29-28 15,28 29 1,-57-29 15,29 28-15,0-28 15,0 0-15,28 28 31,-29-28-47</inkml:trace>
  <inkml:trace contextRef="#ctx0" brushRef="#br0" timeOffset="-170652.96">19449 1102 0,'29'0'203,"-1"0"-187,0 0 0,0 0-1,1 0 16,-1 0-15,0 0 15,0 0-15,1 0 15,-1 0 32,0 0-48</inkml:trace>
  <inkml:trace contextRef="#ctx0" brushRef="#br0" timeOffset="-169558.77">19534 1413 0,'0'28'172,"28"-28"-94,1 0-62,-1 0-1,0 0 1,0 0 0,1 0-1,-29 29 1,28-29 0,0 0-1,1 0 32</inkml:trace>
  <inkml:trace contextRef="#ctx0" brushRef="#br0" timeOffset="-166425.58">20297 1441 0,'0'-28'203,"0"0"-187,29-29-1,-29-28-15,28 29 16,-28 28 0,28-29-16,-28 29 15,0-29 1,0 29 0,0 0-1,0-1 16,28 29-15,1 0 62,-29 29-47,0-1 1,28 0-1,-28 1-15,28-29-1,1 0 16,-1 0 32,-28-29-47,28 1-16,0-29 31,1 29-31,-1 0 15,0-57 1,-28 57 0,28 0-1,-28-1 1,29 1 15,-29 0 0,0 56 63,0 0-78,0 29-1,0-29-15,0 29 16,0-1 0,0 1-1,0-29 1,0 0-16,28 29 16,-28-29-1,0 29 1,28 27-1,-28-27 1,0-29 0,0 0-1,29 1 1,-1-29 15,-28 28-15,28-28 31,0 0-32,1 0 17,-1 0-17,0 0 1,0 0-1,1 0 1,-1 0 0,-28-28-1,28 28 1,-28-29-16,28 1 16,1 0-1,-1-29 1,-28 29-1,0 0 1,0-29 15,0 29-15,0 0 15,0 0-15,-28 28-1,-1 0 48,1 28-32,28 0 16,0 0-16,0 1-31,0-1 32,0 0-17,28-28 1,1 0 31,-29 28-47,28-28 15,0 0 32,1 0-31,-1 0-1,0 0 1,-28-28 0,28 28-1,-28-28-15,29 28 16,-1 0 0,0 0 15,0 0-16,1 0 17,-29 28 30,28-28-46,0 0 15,1 0 16,-1 0-31,0 0 15,0 0-16,1 0 1,-29 28 0,56-28-1,-28 0 1,1 29 15,-1-29 0</inkml:trace>
  <inkml:trace contextRef="#ctx0" brushRef="#br0" timeOffset="-164647.61">22446 678 0,'0'28'109,"-28"-28"-62,-1 0 0,1 29-31,0-29-16,0 0 31,-1 0-31,1 0 31,-29 0-31,29 0 31,0 0-31,0 0 16,-1 0 15,1 0-15,0 0 46,0 28-15,28 0-31,0 0 0,0 1-1,0-1 1,0 0-1,0 0-15,0 1 16,0-1 0,0 29 15,0-29 0,0 0-15,28-28-1,-28 28 1,28-28 31,-28 29-31,28-29-16,1 0 15,-1 0 1,0 0-1,0 0-15,29 0 16,0 0 15,27 0-15,-55 0 0,-1 0-1,0 28 16,0-28-15</inkml:trace>
  <inkml:trace contextRef="#ctx0" brushRef="#br0" timeOffset="-162819.54">22729 932 0,'-29'0'235,"1"0"-204,28 29-15,0-1 15,0 0 47,0 1-31,28-29 0,1 0-32,-29 28 1,28 0 0,0-28-1,0 0 1,1 28 15,-1-28-31,28 0 31,-27 0-15,-1 0 0,-28-28-1,28 28 1,29-28 0,-57 0 15,28 28-31,-28-29 31,28 29-15,-28-28 15,0 0 0,0-1-15,-28 29-1,0-28 1,0 28 0,-29-28-1,0 0 1,29 28 0,0-29-1,0 29 1,-29 0-1,29 0 17,0 0-17</inkml:trace>
  <inkml:trace contextRef="#ctx0" brushRef="#br0" timeOffset="-161130.89">23181 678 0,'28'0'203,"0"0"-188,1 0 1,-1 0 0,0 0-1,0 0 16,1 0-15,-1 0-16,0 0 47,1 0-16,-29 28 32,0 1-32,0-1-31,0 0 16,0 0-1,28 57 1,-28-28-1,0-29 1,0 0 0,0 1-1,0-1 1,0 0 15,0 0-15,0 1-1,28-29 17,-28 56-17,0-28 1,0 1 15,0-1 16,0 0 0,-28-28-16,0 0-15,-1 0-16,1 0 15,0 0 1,-1 0 0,1 0-1,0 0 1</inkml:trace>
  <inkml:trace contextRef="#ctx0" brushRef="#br0" timeOffset="-152671.92">17357 2007 0,'0'28'172,"-28"-28"-141,0 0 16,28 28-15,-28 0-32,-1-28 15,29 29 1,-28 27-1,0-28 1,28 1 0,0-1-1,-29 0 1,29 0 0,0 1 30,0-1-46,57 0 32,0-28-32,-29 28 15,85 1 1,-85-29 0,0 0-1,1 28 16,-1-28-15,0 0 15,-28-28-15,29 28 15,-29-29-31,0 1 31,28 28-31,-28-28 32,0 0-32,0-1 31,0 1-31,-28 0 16,-1-29-1,1 29 1,-57-57-1,29 57 1,27 0 0,29 0-1,-28 28 1,0 0 0,0 0 15,28-29-16</inkml:trace>
  <inkml:trace contextRef="#ctx0" brushRef="#br0" timeOffset="-148955.59">17838 2261 0,'0'-28'235,"0"-1"-204,0 58 157,0-1-126,0 0-46,0 0 15,28-28 31,-28 29-30,0-1 15,28-28-32,1 0 1,-1 0 15,-28 28-31,28-28 16,1 28-1,-1-28 32,0 0-16,0 0 1,-28-28 15,29 28-32,-29-28 16,0 0 1,28 28-17,-28 28 126,28 0-110,-28 0-31,28-28 16,-28 29-1,29-1-15,-29 0 16,28 1 15,0-1-15,1-28 31,-1 0-16,0 0 0,-28-28-15,28-29 0,1 0-1,-1 1 1,0-29-1,-28 29 1,28-29 0,1 28-1,-29 1 1,0 28 15,0-1-15,0 1-1,0 0 1,0-1 15,0 1-15,0 0 15,0 56 157,0 0-173,0 1-15,0 56 16,28-57-16,0 57 16,0-1-1,1 1 1,-29-57-1,0 1 1,0-1 0,0 0 15,28 0 16,-28-56 62,-28 0-109,-1 28 16,1-57-1,28 29-15,-28 28 16,0-28 0,-1 0-1,29-1 17,-28 29-17,0 0 1,28-28 62,-28 28-62,56 0 109,0 0-94,0 0 0,1 0-31,-1 0 16,0 0 15,0 0-15,1 0 15,-1 0 0,0 0 0</inkml:trace>
  <inkml:trace contextRef="#ctx0" brushRef="#br0" timeOffset="-147659.79">19167 2204 0,'0'-28'140,"28"28"-93,0 0-31,29-28-16,-1 0 15,1 28 1,-29-29-16,29 29 16,-29 0-1,-28-28 1,28 28 15,0 0-15,1 0-1</inkml:trace>
  <inkml:trace contextRef="#ctx0" brushRef="#br0" timeOffset="-146464.7">19336 2317 0,'28'0'218,"1"0"-202,-1 0 0,0 0-16,1 0 31,-1 0-15,0 0 30,0 0-30,1 0 15</inkml:trace>
  <inkml:trace contextRef="#ctx0" brushRef="#br0" timeOffset="-143741.03">20184 2063 0,'0'28'234,"0"1"-203,0-1-31,0 0 32,0 0-32,0 1 31,0-1 0,0 0-15,0 0 46,0 1-30,0-1-1,29-28 16,-1 28-16,0-28 16,-28 28-47,28-28 62,1 0-46,-1 0 31,0 0-32,-28 29-15,28-29 32,1 0 15,-29 28-1,28-28-30,-56 0 109,28-28-109,-29 28 46,1-29-31,0 29 1,28-28-32,-28 28 31,-1 0-15,29-28 15,-28 28-16,0 0 1,28-28 0,-28 28-1,-1 0 32,29-29-31,29 29 140,-1 0-125,0 0-15,0 0 15,1 0-15,-1 0 31,0 0-32,0 0 1,1 0 15,-1 0 0,0 0 32</inkml:trace>
  <inkml:trace contextRef="#ctx0" brushRef="#br0" timeOffset="-140567.64">20806 2430 0,'29'-28'218,"-1"28"-202,-28-28 15,28 28-15,-28-28 0,0-1 15,0 1 0,0 0 0,-28 0 16,28-1-31,-28 29 15,28-28-15,-29 28 46,1 0-31,28 28 16,0 1-15,0-1 14,0 0-30,28-28-16,-28 28 16,0 1-1,57-1 1,-29 0 0,57 57-1,-29-57 1,-27-28-1,-1 29 1,0-29 0,0 0-1,1 0 1,-1 0 0,0 0 15,-28-29-16,29 29 32,-1 0-15,0 0 14,0 0 17,-28-28-63,29 28 16,-29-28-16,56-1 15,-28 29 1,-28-28-1,29 0 1,-1 28 0,0 0 15,1 0 16,-1 0-16,-28 28-15,0 0-16,0 1 31,0-1-31,28 0 31,-28 1-15,0-1 31,0 0-32,28-28 1,-28 28 0,0 1-1,0-1 1,0 0-1,0 29 1,0-29 15,0 0 1,0-56 30,0 0-46,0-57-1,0-28-15,0 28 16,29-28 0,-29-57-1,0 142 1,28-28-1,-28-1 1,0 29 31,28 28-31,-28-28-1,28 28 48,-28 28 15,29 0-31,-29 0-32,0 1 32,0-1-31,0 0-1,0 0 17,0 1-17,-29-29 32,29 28-31,-28-28-1,0 28 32</inkml:trace>
  <inkml:trace contextRef="#ctx0" brushRef="#br0" timeOffset="-138789.08">22361 2091 0,'-28'0'235,"0"0"-235,-1 0 15,1 0 1,0 0-1,-29 0 1,29 0 0,0 0 15,-1 0 0,29 29 0,0-1 16,-28 0-31,28 29 0,0-29-1,0 28 1,0 29-1,0-57 1,0 29 0,28-57-1,-28 28 1,0 1 0,0-1 46,29-28-31,-29 28-15,28-28 0,0 0-1,0 0 1,1 0-16,-1 0 31,0 0-31,1 0 31,-1 0-31,0 0 16,0 0 15,1 0 0,-1 0 1</inkml:trace>
  <inkml:trace contextRef="#ctx0" brushRef="#br0" timeOffset="-137552.5">22700 2176 0,'0'28'172,"0"1"-140,0-1-32,0 0 31,0 0-16,0 1 1,0-1 0,0 0-1,0 0 1,0 57 0,0-56-1,0-1 1,0 0-1,0 0 1,29 1 0,-29-1 31,0 0 15</inkml:trace>
  <inkml:trace contextRef="#ctx0" brushRef="#br0" timeOffset="-134941.64">23266 2204 0,'-29'0'234,"1"0"-187,0 0-31,0 0-1,-1 0 32,1 0-15,0 0 61,28 29 95,0-1-157,0 0 16,0 0-16,0 1-15,0-1 15,0 0-31,0 0 47,0 1-31,0-1 15,28-28 125,0 0-125,1 0 16,-1 0-31,0 0-1,0 0 17,1 0-17,-1 0 48,-28 28-32,28-28-15,-28 29-1,0-1 17,0 0-32,0 0 15,0 1 32,0-1-16,-28-28-15,0 0 46,-1 28-46,1-28 31,0 0-16</inkml:trace>
  <inkml:trace contextRef="#ctx0" brushRef="#br0" timeOffset="-133077.42">23548 2176 0,'29'0'172,"-1"0"-110,0 0-46,0 0 15,1 0-31,-1 0 16,0 0 15,1 0-15,-1 0 30,0 0-14,0 28 30,-28 1-46,0-1-1,0 28 1,0-27 0,0-1-1,0 0 1,0 0 0,0 1-1,0-1 16,0 0-15,0 1 15,0-1-15,0 0-16,0 0 16,0 1-1,0-1 16,0 0-15,0 0 15,0 1 16,-28-29-31,28 28-1,-28-28 1,28 28 31,-28-28-47,-1 0 47</inkml:trace>
  <inkml:trace contextRef="#ctx0" brushRef="#br0" timeOffset="-102561.02">23831 2204 0,'0'29'375,"-28"-29"-343,0 0 30,56 0 48,-28 28-17,0 0-61</inkml:trace>
  <inkml:trace contextRef="#ctx0" brushRef="#br0" timeOffset="-100231.18">24001 2657 0,'0'28'187,"-29"-28"-124,1 0-32,0 0-15,0 0-16,-1 0 31,-27 0-31,28 0 31,-1 0-31,1 0 47,56 0 156,1 0-156,-29 28-31,0 0 15,0-56 109,28 28-124,0 0 31,-28 28 109</inkml:trace>
  <inkml:trace contextRef="#ctx0" brushRef="#br0" timeOffset="-95257.92">24481 2176 0,'0'28'188,"0"1"-173,0-1 1,0 28 0,0-27-1,0 84 1,0-57-1,0 1-15,29-29 16,-29 57 0,0-29 15,0-27-15,0-1 15,0 0-16</inkml:trace>
  <inkml:trace contextRef="#ctx0" brushRef="#br0" timeOffset="-93460.01">24849 2148 0,'28'0'203,"0"0"-172,1-28 0,-1 28-31,0 0 32,0 0-1,1 0-16,-29 28 17,0 0-1,0 0-15,0 1-1,0-1 1,0 0-1,0 0 1,-29-28 0,1 29 31,28-1-16,0 0 16,28-28-32,1 0 1,-1 0 0,0 28-1,0-28 1,1 0-1,-1 29 1,-28-1 47,0 0-48,0 1 1,0-1 31,0 0-32,-28-28 17,-1 0 14</inkml:trace>
  <inkml:trace contextRef="#ctx0" brushRef="#br0" timeOffset="-91997.02">25414 2035 0,'28'0'187,"1"0"-171,27 0-1,-28 0-15,29 0 16,-29 0 15,1 0-31,-1 0 16,0 0 31,0 28-16,-28 57-15,0 56-1,0-28 1,0 57 0,0-57-1,0-57 16,0 1-15,0-1 0,0-27 15,0-1-15,0 0-1,-28-28 1,28 29-1,-28-29 1,-57 56 0,-226 114-1,141-57 1,1-29-16</inkml:trace>
  <inkml:trace contextRef="#ctx0" brushRef="#br0" timeOffset="-82961.84">19251 5822 0,'0'28'109,"0"1"-62,-28-1-16,-28 57-15,-29 28-1,0 56 1,-28 1-16,56-113 16,29-1-16,28 1 15,-28-57 1,28 28 0,-28 0-1,28 0 1,0 1-1,28-1 1,0 57 0,0-29-1,1 1-15,-1-1 32,0 29-17,0 0 1,1-57-1,-1 85 1,0-28 0,1 28-1,-1 28 1,-28-28 0,0-28-16,28 28 15,-28 85 1,28-85-1,-28 28-15,57 29 16,-29 84 0,-28-169 15,0-28-15,0-29-1,0 0 1,0 29 15,0-29-15,0 0-1,0 1 1,0-1 0,0 0-16,0 0 15,0 1 16,0-1-15,0 0 15,0 0-15,28 1 31,1-29-32,-29 28 1,28-28 0,28 28-1,-27-28 1,-1 0 0,0 0-1,29 0 1,-29 0-1,0 0 1,1 0 15,-1 0 1,0 0-17,0 0 63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0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93.02325" units="1/cm"/>
          <inkml:channelProperty channel="Y" name="resolution" value="55.95855" units="1/cm"/>
          <inkml:channelProperty channel="T" name="resolution" value="1" units="1/dev"/>
        </inkml:channelProperties>
      </inkml:inkSource>
      <inkml:timestamp xml:id="ts0" timeString="2023-11-03T13:14:26.104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0177 16167 0,'0'28'187,"0"57"-171,0 84 0,28 29-16,1 57 15,27 169 1,-28-255 0,-28-56 15,29-84-16,-29-1 1,0 28 0,0-84 93,0-57-93,-29-169-1,-55-85-15,55 56 16,1 29-16,0 112 16,-1 58 15,1-1-16,28 57 1,0-1 0,0 1 15,0 0-31,0 0 16,0-1 15,0 1-31,0 0 31,0-1-15,0 1-1,-28 28 17,28-28-17,0 0 1,0-1 62,28 29-62,85-28-1,85 28-15,0-28 16,0 0-16,-28-29 15,-29 29 1,0 0-16,29-1 31,226 1-15,-114 0 0,-197 28-1,28 0 1,-56 0-1,-29 0 17,0 0-17,-28 28 1,29-28 0,-1 28 15,0-28 0,-28 29-15,0-1-1,0 28 1,0 57 0,0 142-1,0 395 1,0-424-1,0-198 1,0 0 0,0 1-1,0-1 1,0 0 46,-28-28-62,28 29 16,0-1 15,0 0 16,-28-28-16,28 28-15,-29-28-16,1 0 16,-29 29-1,-56-1-15,0-28 16,-254 28 0,254 0-1,-85 1 1,0-29-1,28 56 17,57-28-17,-56 57 1,56-56 0,84-1-1,1-28 1,-29 0-1,57 28 17,-28-28-17,0 0 17</inkml:trace>
  <inkml:trace contextRef="#ctx0" brushRef="#br0" timeOffset="2150.58">8113 17213 0,'29'0'203,"27"0"-203,29 0 15,0 0-15,-29 0 16,29 0 0,28-29-1,-56 29 1,141-56-1,197-57 1,-84 56 0,113-84-1,-226 84 1,-113 29 0,-28 0-1,-1 0 1,-28 28-1,1 0 1,-1 0 0,0 0 15,0 0-15,1 0 15,-1 0 63,-56 0-16,-29 0-78,29 0 15,-57 0 1,0 0-16,1 0 16,-1 0-1,28 0 1,29 0-1,0 0 1,-1 0 0,1 0-1,0 0 1,0 0 46,84 0 32,1 0-94,-29 0 16,28 0-1,1 28 1,-29 0 0,1-28-1,-1 28 1,0-28 0,0 0 15,-28 29 0,0-1-15,0 0 15,0 0-15,0 1-1,-28-29 1,0 56-1,28-28 17,-28 1-1</inkml:trace>
  <inkml:trace contextRef="#ctx0" brushRef="#br0" timeOffset="4881.5">12325 16478 0,'85'0'235,"-28"-29"-220,56 29-15,-28-28 16,-57 28-1,28-28-15,1 28 16,-29 0 0,29 0-1,84-28 1,1 28 0,-86 0-1,57 0 1,-28 0-1,-57 0 1,57 28 0,0-28-1,-57 0 1,0 28 15,1-28-15,-1 0 31,0 0-16,-56-28 78,28 0-93,-28-1 0,-29 1-16,29-28 15,0 56 1,-29-57-1,0 1 1,1 56 0,56-29-1,-28 1 1,-1 28 15,29-28 0,57 28 32,-1 0-47,-27 28-16,27 0 15,1-28 1,-29 29-1,57-1 1,-29 0 0,-27-28-1,-1 28 1,0-28 0,1 29-1,-29-1 1,56 0-1,-56 0 48,28-28-63,-28 29 16,0-1 46,0 0-46,0 0-1,0 1 17,-56-1-32,28 0 15,-29 1 1,57-1-1,-28-28-15,-1 0 32,29 28-1,-28-28-15,0 0 15</inkml:trace>
  <inkml:trace contextRef="#ctx0" brushRef="#br0" timeOffset="6800.19">8453 16421 0,'-29'0'125,"1"0"-78,28 28 0,-28-28-47,-1 0 31,29 29-15,-28-29 15,0 0 0,28 28-31,-28 0 16,28 1 15,0-1-15,0 0-1,0 0 48,0 1-32,28-29 0,0 0-15,0 0 47,-28-29-17,29 29-30,-29-28 15,0 0-15,28 28 62,0 0-47,1 0 63,-1 0-63,0 0-15</inkml:trace>
  <inkml:trace contextRef="#ctx0" brushRef="#br0" timeOffset="8389.43">8961 16534 0,'-28'0'109,"0"0"-62,28-28-32,-28 28 1,-1-28 0,1 28-1,0 0 1,-1 0-16,1-29 16,0 29-1,0 0 1,-1 0 46,29 29-30,-28-1-17,28 0-15,0 1 31,0-1-15,28 0 31,-28 0-16,29-28-15,-1 0 15,0 0-15,0 0 15,1-56-15,-29 28-1,28-86 1,-28 30-1,0 27 17,0-112-17,0 84 1,0 57 0,0-57-1,0 0 1,-28 85-1,28-28 1,0-1 0,0 1 31</inkml:trace>
  <inkml:trace contextRef="#ctx0" brushRef="#br0" timeOffset="10155.42">9442 16167 0,'-28'0'188,"-1"0"-172,1 0 15,0 0-31,0 0 15,-1 0 1,1 28 15,0 0 1,0-28-17,28 29 1,-29-1-1,29 28 1,-28-27 0,28-1-1,0 0 1,0 0 15,0 1-15,0-1-16,28-28 15,1 28 32,-1-28-31,0 0 15,0-56 0,29-29-31,-29-28 16,0 0 0,29-142-1,-29 171 1,-28-58 0,0 58-1,0 27 1,0 29-1,0-29 1,0 29 15,0 0 1,-28 28-17</inkml:trace>
  <inkml:trace contextRef="#ctx0" brushRef="#br0" timeOffset="13684.93">14954 15432 0,'-28'0'110,"28"-28"-95,-28 28 1,0 0 0,-29-29-1,29-27-15,0 28 16,-29-1 0,-28 29-1,-56-28 1,113 28-1,-29 0-15,29 0 32,-57 0-17,-28 0 17,56 0-17,29 0 1,0 0-16,0 0 15,-1 28 1,-27 1 0,-1-1-16,29-28 15,-85 56 1,56 1 0,1-29-1,28 1 1,-1-1 15,1 0-15,0 0-1,-1 1 1,-27 27 15,56-28-15,0 29-1,0 28 1,0-29 0,0-28-16,0 1 15,0-1 1,113 29 0,28-29-1,170 28 1,-198-56 15,-28 0-31,0 0 16,141 0-1,-84 0 1,197 0 0,28 0-1,-169 0 1,28 0-1,-141 0 1,-28 0 0,-29 0-1,0 0 1,0 0 0,1 0-1,-1 0 1,-28-28 46,0 0-46,0-57 0,-85-28-1,-56-57-15,-85-56 16,0 57-1,112 112 1,58 29 0,28 0-1,-1 28 1,-27 0 15,-29 28-15,28 0 15,29 0-31,-28 29 16</inkml:trace>
  <inkml:trace contextRef="#ctx0" brushRef="#br0" timeOffset="22211.39">20184 4720 0,'0'-28'172,"0"-29"-172,57 1 16,84-142-1,57-28-15,28 56 16,-56 29 0,-57 56-1,57-28-15,-86 85 16,58-57-1,197 0 1,-198 57 0,-28-1-1,-56 29 1,-29 0 15,0 0 0,-56 0 48,-28 0-64,-1 29 1,29-29-16,-57 0 15,28 0 1,29 0-16,-28 0 16,-1 0-1,29 0 1,0 0 0,-1-29 30,1 29-14,56 0 46,29 0-63,-1 0 1,-27 0-16,27 0 16,1 29-1,-29-29 17,0 0-32,-28 28 31,0 0-16,0 1 17,0-1 15,-28-28-32,28 28 1,-28 0 46</inkml:trace>
  <inkml:trace contextRef="#ctx0" brushRef="#br0" timeOffset="23689.25">22700 3561 0,'-28'0'203,"28"28"-187,-28-28-1,28 29-15,-29 27 16,1-56 0,0 57-16,28-1 15,-28 1 1,28-29-1,0 0 17,0 0-17,0 1 1,0-1 0,28 0-1,28-28 1,29 29-1,198-29 1,-85 0 0,-170 0-1,29 0 1,-29-29 0,0 29 15,-28-28-31,28 28 15,-28-28 17,0-1-17,0 1 1,-28-28 0,-28 27-1,27-27 1,-27 28-1,-1-1 1,29 29 15,0 0-15,0 0 15</inkml:trace>
  <inkml:trace contextRef="#ctx0" brushRef="#br0" timeOffset="25656.08">25414 3561 0,'-28'0'125,"0"0"-93,-1 0-32,-27 0 15,-1 0 1,29 0-1,0 0 1,-29 0 0,57 28-1,-28-28 1,0 0 15,28 29-15,0-1-1,0 0 1,28 0 0,0 29-1,29-1 1,-1 1 0,1-1-1,-29-56 1,0 57-1,1-29 1,-29 1 0,0-1 15,0 0-31,0 0 31,-29-28 0,29 29-15,-28-29 0,0 0-1,0 0 1,-1 0 0,-27 0-1,56-29 1,-29-27-1,29 28 17,0-1-17,0 1-15,283-170 16,-113 85 15,112-56-15,-225 112-1,0 29 1,-57-1 15,28 29-15,-28-28 15,-28 28 0,-29 0-31,-28 0 16,-84 0 0,84 28-1,28-28 17,29 29-32,-29-1 15,1-28 1,28 28-1</inkml:trace>
  <inkml:trace contextRef="#ctx0" brushRef="#br0" timeOffset="43487.33">24877 3505 0,'141'-29'171,"199"-84"-155,-29 0 0,-170 85-16,-85 0 15,1 28 1,-29 0 0,1 0-1,-1 0 48,0 0-32,0 0-15,1 0 46,-1 28-15,-28 0-16,0 0 16,-28 1-31,28-1-16,0 0 15,-29 0 1,-27 1 0,-29 112-1,0-28 1,29-28-1,-57 56 1,28-56 0,85-28-1,-57 27 1,29-27 0,28-29-1,-28-28 1,-1 28-1,29 1 17,-28-29-17,28 28 17,0 0 14,-28-28 17,28-28 62,28-29-109,0 1-1,1 28-15,-1-29 16,0 1-1,0-1 1,1-28 0,-29 57-1,28 0 1,-28-1 15,0 1-15,0 0 31,-28 28 15,-1 0-31,-27 0-31,28 0 16,-29 0-16,1 28 16,27-28-1,1 28 1,0-28 0,0 0 15,-1 0 0,29 29 16,-28-29-16,0 28 0,28 0 1,-29-28-32,1 0 15,0 0 1,28 28 31,28-28 62,0 0-93,-28-28-1,57 28-15,-29-28 16,1 28 0,-1-28-16,0 28 15,0 0 1,1 0 0,-1 0 15,28 0-16,-56-29 1,29 29 0,-1 0-1,-28-28 48,28 28-63,0 0 15,1 0 17</inkml:trace>
  <inkml:trace contextRef="#ctx0" brushRef="#br0" timeOffset="136216.72">19478 15941 0,'0'28'156,"0"57"-125,-29 28-31,29 198 16,0 56-1,0-56-15,0-28 16,0-142 0,0 29-16,0-1 15,-28 170 1,0-56-1,28-170 17,-29-28-17,29 0 1,-28-85 0,28 28 15,0 0 0,0-56 32,57-198-63,112-339 15,86-199 1,-227 623-1,57-57 1,-57 85 15,-28 57-15,0 27 0,0-27-1,0-1 1,0 1-1,0-29 1,0 57 0,0-85-1,0 28 1,0 57 0,0-29-16,0 1 15,0-1 1,0 29 31,0 0-32,0-1 1,-56 1 0,56 0-1,-29-1 1,1 1-1,0 0 1,0 28 0,-1 0-1,1 0 1,0 0 0,-1-28 46,171 28 1,282 0-63,28 0 15,-113 0-15,-112 0 16,27 0-1,-113-29-15,1 29 16,-1 0 0,170-28-1,-85 28 1,-169-28 0,56 28-1,-57 0 1,-27 0 15,-1 0-15,0 0-1,0 0 1,57 0 0,-57 0-1,1 0 1,-1 0-1,0 0 1,1 0 15,-29 28-15,0 0 0,0 312-1,0 366 1,0-423 15,-29 113-15,29-170-1,0-170 1,0 29 0,0 28-1,0-85 1,0 170-1,29-57 1,-1-56 0,-28 85-1,0-57 1,0-85 0,28 29 15,-28-29-16,0 0 1,0 0 0,0 1 62,-56-29-63,27 0 1,-56 0-16,-706 0 63,593 0-48,-339-85 63,424 85-62,56-28-16,-310-1 62,254 1-30,28 28-1,0 0-31,29 0 0,-29 0 16,0 0-1,0 0 1,0 0-1,57 0 1,0 0-16,0 0 16,-29 0-1,0 0 1,-56-28 0,29 0-1,-30-29 1,30 57 15,55-28-15,1 28 15,0-28-31,0-1 31,-1 29 0</inkml:trace>
  <inkml:trace contextRef="#ctx0" brushRef="#br0" timeOffset="138155.14">18743 16252 0,'-29'0'203,"-27"0"-188,27 28 1,-27 0 0,-1 0-16,29 1 15,0-29 1,0 0 0,28 28-1,-29-28 16,29 28-31,-28-28 32,28 28-1,28 1-15,-28-1-1,29 0 1,27 1-1,-28-29 1,1 0 0,-29 28-1,56-28 1,-28 0 0,1 0-1,-1 0 1,0 0 15,1 0-15,-29-28-1,28-1-15,-28 1 32,0 0-32,0-1 31,0 1-16,0 0 1,0 0 0,0-1 15,-28 29 0</inkml:trace>
  <inkml:trace contextRef="#ctx0" brushRef="#br0" timeOffset="139902.94">18658 17947 0,'28'0'235,"0"0"-220,1 0 1,-1 0 15,-28 29 0,28-29-31,-28 28 32,0 0-1,0 1-16,0-1 1,28-28-16,-28 28 16,0 0-1,0 1 1,0-1 0,0 0-1,0 0 1,0 1-16,0 27 47,0-28-16,-28 1-15,28-1 15,0 0 47</inkml:trace>
  <inkml:trace contextRef="#ctx0" brushRef="#br0" timeOffset="141120.68">18629 18315 0,'0'-28'218,"29"28"-186,-1 0 14,-28-29-46,28 29 32,1 0-17,-1 0 79,0 0-63,0-28-15,1 28 0,-1 0-1</inkml:trace>
  <inkml:trace contextRef="#ctx0" brushRef="#br0" timeOffset="143599.12">19591 16760 0,'56'0'203,"-28"-28"-188,29 0 1,0 28-16,-29-28 16,28 28-16,-27 0 31,-29-29-31,28 29 31,0 0-31,0 0 16,1 0-1,56 0 1,-29 0 0,1 0-1,-1 0 1,-28 0-16,29 0 15,28 0 1,0 0 0,56 0-1,85 0 1,-141 29 0,113-1 15,-29-28-16,-56 28 1,142 0 0,-1 1-1,-169-29 1,56 0 0,1 28-1,-57-28 1,84 0-1,29 28 1,-85-28 0,57 0-1,-57 0 1,-57 0 0,-27 0 15,27 0-16,-28 0 1,1 0 15,-1 0 1,0 0 46,1 0-31</inkml:trace>
  <inkml:trace contextRef="#ctx0" brushRef="#br0" timeOffset="145789.49">23040 16365 0,'28'-29'296,"0"29"-264,0 0-32,29 0 15,56 0 1,-57 0 0,29 0-16,0 0 15,0 0 1,0 0-1,0 0 1,56 0 0,28 0-1,-140 0 1,56 0 0,-29 0-1,1 0-15,-29 0 16,85 0 15,-85 0-15,1-28-16,-1 28 15,0 0 1,0 0 0,1 0 30,-29-28-14,0 0 15,-29 28-32,1 0-15,28-29 31,-56 1-31,27 0 32,1 28-17,0 0 1,-1 0 0,1 0-1,28-28 1,57 28 78,56 56-94,113 57 15,-85-56 1,-28-1-16,0 29 31,-56-57-15,-29 1-1,1-29 1,-1 28 31,-28 0-16,0 0 32,-28 1-32,28-1-16,-29-28 1,1 0 0,28 28-1,-57 0 1</inkml:trace>
  <inkml:trace contextRef="#ctx0" brushRef="#br0" timeOffset="147868.81">25980 16054 0,'0'28'156,"0"0"-94,0 1-30,0-1-17,0 0 17,0 0-17,0 1 1,28-29-1,85 84 1,-57-27 0,1-1-1,-1-27 1,1 27 0,-29-27-1,1-29 1,-29 28-1,28 0 32,-28 0-31,0 1 31,-28-29-16,-1 0-31,1 0 16,-29 0-1,29 0 1,0 0 0,0 0-1,28-29 1,-29 1-1,29 0 17,0 0-17,0-1 1,0 1 15,0 0-31,0-1 16,0 1-1,0 0 17,29 0-17,-29-1 1,28 29 0,-28-28-1,0 0-15,0 0 31,0-1-15,0 1 0,0 0 31,0 0-16,-28 28-31</inkml:trace>
  <inkml:trace contextRef="#ctx0" brushRef="#br0" timeOffset="149575.01">26828 16026 0,'0'28'172,"0"0"-140,0 0-32,0 1 15,0 27 1,0 1-1,28-1 1,-28 1 0,0-29-1,0 0 1,0 0 0,0 1-1,0-1 32,0 0-16,28-28 32,-28-28-48,28 28 17,-28-28-32,0-1 15,0 1 1,29 0 15,-1 28 0,0 0 1,-28-28-17,28 28 32,1 0 0,-29 28 0,0 0-16,0 0 0,0 1-15,-29-29 0,29 28-1,-28 0 1,0-28 0,28 29 15,-28-29-16</inkml:trace>
  <inkml:trace contextRef="#ctx0" brushRef="#br0" timeOffset="150659.82">27365 16506 0,'0'28'187,"-29"1"-155,29-1-1,0 0 16,0 0-16,0 1 0</inkml:trace>
  <inkml:trace contextRef="#ctx0" brushRef="#br0" timeOffset="151885.85">27336 16308 0,'0'28'141,"29"-28"-79,-29 29 16,0-1-31</inkml:trace>
  <inkml:trace contextRef="#ctx0" brushRef="#br0" timeOffset="153884.39">27845 15828 0,'0'28'156,"0"0"-141,0 29 1,0-1-16,0-27 16,29 27-1,-29-28-15,0 29 16,28-1 0,-28 1-1,0-29-15,0 29 31,0-29 1,28-28-17,-28 28 1,0 0 0,0-56 109,0 0-79,-28 28-46,0 0 32,-1 0-17,29-28 1,-28 28-16,0 0 31,28-29-31,0 1 110,28 28-110,0 0 31,1 0 16,-1 0-32,0 0 48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0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93.02325" units="1/cm"/>
          <inkml:channelProperty channel="Y" name="resolution" value="55.95855" units="1/cm"/>
          <inkml:channelProperty channel="T" name="resolution" value="1" units="1/dev"/>
        </inkml:channelProperties>
      </inkml:inkSource>
      <inkml:timestamp xml:id="ts0" timeString="2023-11-03T13:17:49.305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8601 2035 0,'0'-28'94,"0"-1"-94,0 1 16,-28 28 15,28-28-15,-28 28 30,-1 0-30,-27 0-16,-1 28 16,29-28-1,-28 28 1,27 1 0,29-1-1,-28 0 1,0-28 15,28 28 0,0 1-15,0-1 0,0 0-1,0 0 1,0 1-1,0-1 1,28 0 0,-28 0-16,28 1 15,29-1 1,-29-28 0,0 28-16,1-28 15,-1 0 32,0 0-47,0 0 31,29 0-15,-1-56 0,142-114-1,-56 29 1,27-57-1,-112 113 1,-29 57 0,0-29-1,-28 29 1,0 0 0,-84-29-1,-199-56 16,142 85-15,-57 0 0,141 28-1,29 0 1,0 0 0,-1 0-1,1 0 63,28 28-46,0 0 46,0 1-63,0-1 17,0 0-1,0 0 0</inkml:trace>
  <inkml:trace contextRef="#ctx0" brushRef="#br0" timeOffset="1858.93">19732 1837 0,'28'0'156,"85"0"-140,85-28-1,57 28-15,84-57 32,-254 57-17,0 0 1,-29 0 0,-28 0-1,1 0 1,-1 0 15,0 0-15,0 0 15,-56 0 47,0-28-62,-29-29-16,-27 29 15,-1-28 1,28 56 0,29-29-16,0 29 15,-1-28 1,1 28-1,0-28 17,56 28 61,29 28-93,-1-28 16,-56 28 0,57-28-1,-1 29 1,-27-29 0,-1 28-16,0 0 15,57-28 1,-57 28-1,-28 1 1,28-1 0,1-28-1,-1 28 17,-28 0-17,0 1 32,0-1-31,0 0-1,-28 0 1,-1 29 0,1-57-16,28 28 15,-28 1 1,0-29 15,-1 0-15</inkml:trace>
  <inkml:trace contextRef="#ctx0" brushRef="#br0" timeOffset="3436.68">21570 1328 0,'28'0'188,"28"0"-173,-27 0-15,27 0 16,-28 0 0,57 0-1,-28 57 1,-1-57-1,-27 85 1,-1-57 0,-28 0-1,0 0 17,0 29-17,0-29 1,0 0 15,0 1 0,28-29 79,-28 28-110,0 0 31,0 29-15,0-1-1,-28-56 1,0 85-1,-1-28 1,1-29 0,-142 85-1,-112 56 1,225-140 0,-56-1-1,85-28 1,0 28 15,-1-28 0,1 0 16</inkml:trace>
  <inkml:trace contextRef="#ctx0" brushRef="#br0" timeOffset="4608.28">23096 1413 0,'0'28'219,"0"29"-203,0-1-16,28 57 15,1 85 1,-1-113 0,-28 113-1,28-142 1,-28-27 0,0-1 15,0 0-16,28-28 1</inkml:trace>
  <inkml:trace contextRef="#ctx0" brushRef="#br0" timeOffset="34846.57">5286 13030 0,'0'28'94,"0"0"-63,0 0-15,0 29-1,0 28 1,0 112-1,0 680 1,0-369 0,-28-84-16,28-141 15,-56 84 1,56-225 0,0-86-1,0 29 1,-29 28 15,29-28-15,-28 113-1,0-113 1,28-57 0,0 57-1,-29-1 1,29-55-1,0 55 1,0-27 0,0-29-1,0 1 1,0-1 0,0 0-16,0 0 46,0 1-14,0-1 15,0 0-32,0 0 1,0 1-1,0-1 1,0 0 0,0 0-1,0 1 1,0-1 0,0 29-1,0-1 16,0-28-15,0 29 0,0-1-1,0-27 1,0-1 0,0 0-1,0 0 1,0 1-1</inkml:trace>
  <inkml:trace contextRef="#ctx0" brushRef="#br0" timeOffset="38923.74">5258 12973 0,'28'0'188,"114"28"-173,56 1-15,-29-29 16,57 28 15,29-28-15,-57 0-1,395 0 1,-253 0 0,253-57-16,114-28 15,593-141 1,-706 113-1,-453 113 1,1 0 0,-57 0-1,-1 0 1,86 0 0,-29 0-1,-84 0 16,169 29-15,85-29 0,-113 0-1,113 0 1,-170 0 0,-56-29-16,-29 1 15,58 28 1,-114-28-1,56 28 1,-28 0 15,1 0 16,-29 28 0,0 85-31,0 141-1,-170 1244 1,85-791 0,-28-29-1,113-282 1,0-255-1,0 1 1,0 27 0,0-84-1,28 113 1,29 113 0,-57-142 15,28 284-16,0-227 1,-28-141 0,0-1-1,29 1 1,-29-28 0,0-29-1,0 28 1,0-27-1,0-1 17,0 0 15,-29-28-16,-55 0 0,-58-28-31,1-29 16,-57 29-1,-85-113 1,86 84 0,-312-112-1,56 27 1,340 114-1,-56 0 1,-57 0 0,56 28-1,-311 0 1,86 28 15,225 0-15,-113 0-1,29-28 1,112 0 0,-253 0-1,-1-28 1,255 28 0,-29-28-16,113 28 15,-140-28 1,140 28-1,-84-29 1,28 1 0,56 28-1,-84 0 17,-1-28-17,58 28 1,-30 0-1,1 0 1,85 0 0,-28 28-1,27-28 1,1 0 0,0 0-1,-29 28 1,1-28 15,27 0 0,1 0-15,0 0 0,0 0-1,-1 29 1,1-29-1,0 28 1,0-28 0,-1 0-1,1 0 17,28 28-17,-28-28 1,-1 0 15,29 28 0,-28-28-15,0 0 15,0 0 0,-1-28 32,1 28-16,28-28-47,-28 28 31,28-28-31,0-1 47,-28 1-31,28 0 15,-29 28-16,29-28 17,0-1 15</inkml:trace>
  <inkml:trace contextRef="#ctx0" brushRef="#br0" timeOffset="41548.12">4410 13340 0,'-28'0'157,"-1"29"-110,29-1-16,-28 0 0,0-28-15,28 28 15,-28 1-15,28-1 15,0 0-16,-29 1 1,29-1 0,0 0-1,0 0 1,0 1 15,0-1 16,29-28-31,-1 28 15,0-28-15,0 0 30,1 0-30,-1 0 15,0 0 1,1-28-32,-1 28 31,0 0-31,0-28 15,1 28 1,-1-29 15,0 29-15,0 0 0,-28-28-1,29 0 16,-29 0 1,28 28-17,-28-29 17,0 1-1,0 0 31,-28 28-46,-1 0 0,1 0-1,0 0 1,-29 0-1,29 0 1,0 0 0,0 0-16</inkml:trace>
  <inkml:trace contextRef="#ctx0" brushRef="#br0" timeOffset="43657">3873 14132 0,'0'28'156,"0"0"-125,0 29-31,0 56 16,85 141-16,-29-56 15,57 283 1,-113-312 15,0 170-15,0-169-1,0-85 1,0 113 0,-56 141-1,28-198 1,-1 29 0,1-86-1,28-55 1,0-1-1,-28 29 1,28-29 15,0 0 1,0 0-17,-29-28 63,1 0-62,28-28 0,-28 0-16,0-29 15,-1-28 1,-27 1-1,28-29 1,-1 113 0,1-57-1,28 29 17,0 0-17,-28-1 1,28 1 31,0 0-16,0 56 31,0 29-46,28-1 0,-28-28-1,0 1 1,28-1 0,-28 0-1,0 0 1,0 29-1,0-29 1,29-28 0,-29 28-1,28-28 1,-28 29 0,28-29-1,29 0 1,-1 0-1,86-29 1,-58-27 15,86-29-15,-114 29 0,1 56-1,-29-29 1,-28 1-1,29 28 1,-1 0 0</inkml:trace>
  <inkml:trace contextRef="#ctx0" brushRef="#br0" timeOffset="51826.95">3675 17297 0,'0'29'140,"0"-1"-93,0 28-31,28-27-1,-28 84-15,29-28 16,-1 28 0,-28-57-1,0 1 1,28-29 15,-28 0-15,0 29-1,0-29 1,0 0 0,0 1-1,0-1 1,0 0-1,0 0 1,0 1 0,28-1 15,-28 0 0,0 0-15</inkml:trace>
  <inkml:trace contextRef="#ctx0" brushRef="#br0" timeOffset="55248.02">5428 14188 0,'56'-28'203,"57"28"-187,0-28-1,-28 28 1,85 0 0,-114 0-1,57 0 1,-28 0-1,0-28 1,198 28 0,56 0-1,-282 0 1,27 0 0,29 0-1,-84 0 1,140-29 15,1 29-15,28-28-1,367-57 1,340-84 0,-566 112-1,255-84 1,-255 56-1,-254 85 1,0-28 0,-29 28-1,1 0 1,27 0 0,-27 0-1,0 0 16,27 0-15,1 0 0,-57 0-1,57 0 1,-28 0 0,-29 0-1,0 0 1,1 0-1,-1 0 1,28 0 0,1 0-1,-29 28 1,0-28 0,29 0-1,-29 0 16,1 28-15,27-28 0,-28 0-1,1 29 1,27-29 0,-28 0-1,1 28 1,27-28-1,1 0 1,-29 0 0,29 0-1,-29 28 17,0-28-17,0 0 16,1 0-15,-29 28 0,28-28 15,0 0-15,0 0-1,1 0 1,-1 0-1,0 0 32,-28 29-47,29-29 16,-1 0 15,0 28 94,0-28-78,-28 28-16,29-28 1,-1 0 14</inkml:trace>
  <inkml:trace contextRef="#ctx0" brushRef="#br0" timeOffset="61059.15">12552 13284 0,'28'0'188,"57"0"-188,141 0 15,-57 0 1,114 0 0,56 0-1,-254 0 1,-28 28-16,-29-28 16,29 0-1,-29 28 1,0-28-1,0 0 1,1 0 0,-1 0 31,0 0-1,0 0 1,-56 0 47,0 0-63,28-28-31,-28 0 16,-1 28 0,1 0-1,0-28 1,28-1-1,-28 29 1,-1-28 0,1 28 15,28-28-15,28 28 93,1 0-93,-1 28-1,0-28 1,0 0-1,-28 28 1,29-28 0,-1 29-1,-28-1 32,0 0-16,0 0-15,-28 1 15,28-1 1,-29-28-32,1 0 15,0 28 1,28 0-1,0 1 17,-28-29-32,-1 0 31</inkml:trace>
  <inkml:trace contextRef="#ctx0" brushRef="#br0" timeOffset="63417.97">14615 12888 0,'-28'0'125,"28"28"-110,-28-28 32,28 29-31,-29-29 0,29 28-1,0 0 1,0 1 15,0-1-31,0 0 31,57 29-15,56-29 15,-28 28-15,0-27-16,-29 27 15,142 1 1,-28 27 0,-142-55-1,57-1 1,-57 0 0,0 1-1,-28-1 1,29 0-1,-29 0 17,0 1-1,0-1-15,0 0-1,-85 0 1,57 1-1,-114-29 1,114 0 0,-29 0-16,1 0 15,-1 0 1,29-29 0,0 29-1,-1-28 1,29-28-1,-28 56 1,28-29 15,0 1 1,0 0-17,0 0 1,0-1-1,0 1 1,0 0 0,0-1-1,0 1 1,0 0 0,0 0-1,0-1 1,0-27-1,0-1 1,-28 29 0,0 0 15,-1 0-15,1-1-1,0 1 1,0 28-1,-1 0 1,1 0 47,0 0-32,0 0 47,28-28-47,0 0 0</inkml:trace>
  <inkml:trace contextRef="#ctx0" brushRef="#br0" timeOffset="72103.42">2742 17608 0,'-28'29'78,"28"-1"-31,28-28 94,0 0-125,1 0-16,-1 0 31,0 0-31,0 0 31,1 0-31,-1 0 16,-28 28-1,28-28 1,1 28 0,-1-28-1,-28 29 16,0-1-15,0 0 0,0 0-1,0 1 1,0-1 0,0 0-1,0 0 1,-28 29-1,-1-29 1,29 1 15,0-1 32,0 0-16,29-28-32,-1 28 1,57 1-16,-1-29 16,-55 28-1,56 28 1,-57-27-1,0-29 1,0 28 0,1 0-1,-29 0 17,0 29-17,-29 28 1,-55-57-1,-86 113 1,113-112 0,-112 55-1,84-55 1,28-1 0,29-28-16,-28 0 15,-29 0 1,28 28-1,1-28-15,27 28 16,-55-28 0,55 29-1,1-29 1,0 0 0,0 28-1,-1-28 1,1 0-1,28 28 1</inkml:trace>
  <inkml:trace contextRef="#ctx0" brushRef="#br0" timeOffset="115826.38">18884 7066 0,'28'0'265,"-28"-28"-249,28 28 0,1 0 15,-1 0-16,0 0 1,1 0 0,-1 0-16,0 0 15,0 0 1,57 28 0,-57-28-1,29 28 16,-1-28-31,-27 0 32,84 0-17,-57 0-15,-27 0 32,55 0-17,-55 0 1,-1 0-1,0 0 1,1 0 0,-1 0-1,0 0 1,29 0 0,-29 0 15,0 0-16,0 0 32,1 0-15,-58 0 93,1 0-110,-28 0 1,27 0-16,-55 0 15,55 0-15,-27 0 32,-57 0-17,-57 0 1,142 0 0,-57 28-1,-28-28 1,85 0-1,-85 29 1,56-29 0,0 0-1,29 0 17,0 0-32,0 0 31,-1 0-16,1 0 1,0 0 15,28 28-31,-28-28 16,56 0 109,0 0-109,85 0-1,0 28-15,85-28 16,-57 0-1,227 0 1,-198 0 0,-29 0-1,-56 0 1,-29 0 0,-27 0-1,-1 0 1,0 0 15</inkml:trace>
  <inkml:trace contextRef="#ctx0" brushRef="#br0" timeOffset="118466.39">14672 12408 0,'-28'0'171,"-1"0"-124,-27 0-31,56 28-16,-29-28 16,-27 28-1,-1 1 16,1 27-15,-1-56 0,29 28-1,-29 1 1,29-1 0,28 0-1,-28 0 1,0 29-1,-1-57 1,1 56 0,28-27-1,0 27 1,0 29 0,0-28-1,0-1 16,0 29-15,0 0 0,0-57-1,0 28 1,0 1 0,0-29-1,0 29 1,28-1-1,1-27 1,-1 55 0,28 1-1,-27-28 1,-1-1 0,57 29 15,-57-85-16,57 85 1,0-29 0,-29-27-16,1-1 15,84 57 1,-28-29 0,-56-28-1,28 1 1,112-29-1,-140 0 1,113 0 0,-86 0-1,-27 0 1,-29-29 15,29-27-15,-29 56-1,57-141 1,0-1 0,-57 57-1,0-28 1,-28-28 0,0 113-1,0-29 1,0-28-1,0 57 1,-28-85 0,-29 57-1,29-1 17,-57-28-17,-56-56 1,28 84-1,-57-56 1,114 85 0,-114-57-1,85 57 1,29 0 0,-1 28-16,57-28 15,-113 28 1,57 0-1,27 0-15,1 0 16,-28 0 0,27 0 15,-27 0-15,27 0 15</inkml:trace>
  <inkml:trace contextRef="#ctx0" brushRef="#br0" timeOffset="122559.17">22050 7179 0,'57'0'219,"56"-28"-203,0-1-16,-57 1 15,114 0 1,-114 0 15,-27 28-31,-1 0 16,0 0-1,1 0 1,-1 0 0,0 0 15,0 0-16,1 0 1,-1 0 0,28 0-1,1 0 1,-29 28 0,1-28-1,-1 0 16,0 0-15,0 28-16,1-28 31,-1 0-15,0 0 0</inkml:trace>
  <inkml:trace contextRef="#ctx0" brushRef="#br0" timeOffset="126058.34">25245 7066 0,'0'28'110,"-29"-28"-79,1 0 0,0 0 0,-1 0-31,1 0 16,0 0 0,0 0-16,-29 0 15,-28 0 1,29 0 0,27 0 15,1 0-16,0 0 1,0 0 15,28 28 16,-29 1 0,29-1-31,0 0-16,0 0 31,0 1-31,0-1 31,0 0-15,0 0-1,0 57 1,0-57 0,0 1-1,0-1 1,0 0 0,0 1-1,0 27 1,0-28-1,0 1 17,0-1-1,0 0 0,29-28 16,-1 0-16,0 0-15,0 0 0,57 0-1,-56 0 1,-1 0-1,28 0 1,-27 0 15,-1 0-15</inkml:trace>
  <inkml:trace contextRef="#ctx0" brushRef="#br0" timeOffset="127667.34">25555 7320 0,'-28'0'172,"28"28"-156,-28-28 0,28 29-1,-28-29 1,28 28-1,-29 0 1,1 0 0,28 1-1,0-1 1,0 0 0,0 1-1,0-1 16,0 0-15,0 0 0,0 1-1,28-1 1,57-28 0,-28 0-1,-29 0-15,57 0 16,-29 0-1,1 0 1,-29-28 0,0-1-1,1 29 1,-29-28 15,0 0-15,0 0-1,0-1 1,0 1 0,0-29 15,-57 29-15,57 0-1,-28 28 1,0 0-1,-1 0 17,1 0-1,0 0 0</inkml:trace>
  <inkml:trace contextRef="#ctx0" brushRef="#br0" timeOffset="128885.8">26517 7235 0,'0'29'203,"-29"-29"-187,29 28 0,-28-28 30,0 0-30,56 0 109,-28 28 16</inkml:trace>
  <inkml:trace contextRef="#ctx0" brushRef="#br0" timeOffset="130510.42">26460 7631 0,'0'-28'328,"28"28"-265,1 0-48,-1 0 63,-28 28-46,-28-28 77,-1-28-78,58 28 94</inkml:trace>
  <inkml:trace contextRef="#ctx0" brushRef="#br0" timeOffset="132384.97">26912 7377 0,'29'0'188,"-29"-29"-172,56 1-1,1 0-15,-1 0 16,57-29-1,57 1 1,-142 27 0,1 29-1,-1 0 1,0 0 0,-28 29 62,0-1-63,0 0-15,-28 0 32,28 1-32,-28-29 15,28 28 1,0 0-1,-29 0 1,29 1 62,0-1-31,0 0 16,29 0-32,-29 1-31,0-1 47,0 0-47,0 1 31,0-1-31,0 0 31,-29 29-15,1-57-1,0 28 1,-1 0 0,1 0-1,0-28 17,0 0-1</inkml:trace>
  <inkml:trace contextRef="#ctx0" brushRef="#br0" timeOffset="133744.03">28213 7292 0,'0'28'172,"0"0"-156,0 29 15,0-29 0,0 0-31,0 1 16,0-1-1,0 29 1,0-29 0,0 0-1,0 29 1,0-29-1,0 0 17,0 0-17,0 1 1,0-1 0,0 0-1</inkml:trace>
  <inkml:trace contextRef="#ctx0" brushRef="#br0" timeOffset="135290.54">28552 7066 0,'28'0'204,"1"0"-204,-1 0 15,28 0 1,1 0-1,-29 0 1,0 0 0,29 0-16,-29 0 15,29 0 1,-29 0 31,0 0-32,1 0 1,-29 28 15,0 0 1,0 85-17,0-28 1,0 28-16,0 0 15,0 85 1,0-113 0,0-29-16,-29-27 15,29 56 17,0-57-1,0 0-16,0 0 1,-28-28 31,28 29-31,-28-29-1,0 0 1,-1 0-1,-27 0 1,27 0 0,-27 0-1,28 0 17</inkml:trace>
  <inkml:trace contextRef="#ctx0" brushRef="#br0" timeOffset="158394.47">16933 8790 0,'-28'0'203,"28"28"-172,0 0-15,-28-28-1,0 29-15,-1-29 16,29 56-1,-28-56 1,28 28-16,-28 1 16,28-1 31,0 0-32,0 1 16,0-1-15,0 0 0,0 0-1,0 1 1,28-29 0,0 56-1,1-28-15,-1 29 16,28-1-1,-56-27 1,29-29-16,-29 28 31,28 0-15,-28 1 0,0 27-1,0-28 1,0 29-1,0-29-15,0 0 16,0 57 0,0-57-1,0 1-15,0 27 16,0 29 0,0-28-1,0 27 1,0 1-1,0-28 17,0-29-32,0 28 15,0 29 1,0-57 0,0 1-16,0 27 15,0 29 1,0-28-1,-28-1 17,28-28-17,0 1 1,0 27 0,-29-28-1,29 1-15,0-1 31,0 0 1,0 1 15,0-1 15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0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93.02325" units="1/cm"/>
          <inkml:channelProperty channel="Y" name="resolution" value="55.95855" units="1/cm"/>
          <inkml:channelProperty channel="T" name="resolution" value="1" units="1/dev"/>
        </inkml:channelProperties>
      </inkml:inkSource>
      <inkml:timestamp xml:id="ts0" timeString="2023-11-03T13:21:40.906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018 7801 0,'0'28'156,"0"57"-140,56 141 0,57 367-1,85 1-15,-28-85 16,-1 169-1,-84-480 1,-28-29 0,-29-112-1,0 56 1,-28-85 0,0 1 15,0-1-16,0-85 32,-56-197-47,-170-453 16,-198-452 0,367 962-1,29-1 1,0 141-1,28 29 17,0-29-17,-29 57 1,29-28 0,0 0-1,-28-85 1,0 85-1,-29-142 1,1 0 0,56 57-1,-57-84 1,29 55 0,0 86-1,28-1 1,-29 29 15,29 0-15,0-1 15,29 29 31,-1 0-62,85 0 16,85 29-16,0 55 16,0-27-1,169 84 1,-28 57 0,-84-28-1,84 56 16,-85-28-15,-225-142 0,84 29-1,-85-28 1,0-57 0,29 56-1,-57-28 1,28-28-1,0 85 1,1 56 0,-58 57-1,-169 396 1,-141-85 0,198-340 15,-29 1-16,114-114 1,56-27 0,-29-1-1,1 0 1,0-28 31,0 0 0,28 28-32,-29-28 1,29 29 31,-28-29-16,0 0 0</inkml:trace>
  <inkml:trace contextRef="#ctx0" brushRef="#br0" timeOffset="1843.31">3618 9186 0,'0'28'172,"0"0"-156,0 29-16,0-29 15,0 57 1,0-57 0,0 0-1,0 1 1,29 27 0,-29-28-1,28 1 1,0-1-1,1-28 1,-1 28 0,0-28-1,-28 28 1,28-28 0,1 0-1,-1 0 16,-28-28-15,0-28 15,28 27-15,-28-84 0,0 85-1,0-57 1,0 0-1,0 57 1,0 0 0,0 0-1,0-1 32,0 1-16,0 56 48,28-28-64,-28 29 1,29-29-16,-29 28 15,28 0 1,0 0 0,1 29-1,27-29 1,1 57 0,-1-85 15,-56 28-16,28 1 1,1-29 0,-1 0-1,0 0 32</inkml:trace>
  <inkml:trace contextRef="#ctx0" brushRef="#br0" timeOffset="4639.53">4947 8790 0,'-28'0'187,"0"0"-155,-1 0-1,1 0 16,0 0-32,0 28 32,-1-28-47,1 28 31,28 1-31,-28-1 32,28 0-17,-29 0 1,29 1 0,0-1-1,0 0 1,-28 1-16,28-1 15,0 28 1,0-27 0,0-1-1,0 0 1,28 0 0,-28 1-16,29-29 15,-29 28 1,28-28 15,0 0 0,1 0-15,-1-28 15,-28-1-15,28 29-1,0-113 1,-28 57 0,0 28-1,0-1 1,0 1 0,29 28-1,-29-28 16,28 28 16,0 0 0,-28 28-31,0 0-1,28 1 1,1-29 0,-29 56-1,56-56 1,-28 0 0,1 0 15,-1 0-16,0 0 17,-28-28-17,29 0 1,84-425 0,56-84-1,-140 368 1,-29 27-1,0 58 1,0 27 0,0 1-1,0-29 1,0 28 0,-29 1-1,1-29 1,0 28 15,-57-84-15,-28 0-1,85 141 1,-1-57 0,1 29-1,0 28 1,28-28-1,-29 28 17,1 0-1,0 56-31,-29 199 16,-27 140-1,55-112 1,29 28-1,0-255 1,0 29 0,29-57-1,-29 29 1,113 56 0,141 113-1,-169-141 1,0 28-1,0-85 1,-57-28 0,-28 28-1,28 1 1,0-29 31</inkml:trace>
  <inkml:trace contextRef="#ctx0" brushRef="#br0" timeOffset="6529.71">6332 8762 0,'0'56'171,"0"-28"-155,29 29-16,-1 56 31,57 141-15,-1-84 0,-84-85-16,29 28 15,27-28 1,-56-57-1,29 0 1,-29 0 0,28-28 46,-56-56 1,-29-1-63,0-140 15,1 27 1,-29 29 0,57-57-1,-29 56 1,29 86-1,0-29 1,0 0 0,28 57-1,0-28 1,0 27 0,0 1-1,0 0 1,0-29-1,0 29 17,0 0-17,0-1 1,28 29 0,-28-28-1,85 0 1,-57 0-1,85 28 1,-57 0 0,-27 0-1,-1 0 1,0 28 0,-28 0-1,29-28 1,-1 57-1,-28-29 17,0 57-17,0 84 1,0-56 0,-28-56-16,-1 56 15,1 0 1,0-85-1,28 29 1,-29-1 0,1-56-1,28 29 1,-28-29 15,28 28-15,-28-28 15</inkml:trace>
  <inkml:trace contextRef="#ctx0" brushRef="#br0" timeOffset="8373.02">7124 8507 0,'0'29'110,"0"-1"-32,0 0-63,0 0 17,0 1-32,0-1 15,0 0 1,28 29 0,0-57-1,1 28 1,-1 0-1,28 0 1,-27-28 15,-1 0-15,0 0 0,1-28-1,-1 28 1,-28-28-1,28 28 1,-28-28 0,28-1-1,1 29 1,-29-56 0,0 28 15,0-1 0,0 1-15,0 0 31,0 0-32,-57 28 1,-28-29-1,85 1 1,-85 28 0,57 0-1,0 0 1,0 0 15,-1 0 0</inkml:trace>
  <inkml:trace contextRef="#ctx0" brushRef="#br0" timeOffset="9622.73">7633 8705 0,'0'-28'234,"0"0"-234,0-1 31,0 1-15,0 0 0,0-29-1,0 1-15,0 27 31,0 1-15,0 0 0,28 0-1,-28-1 1,0 1 0,28 28-1,-28-28 1,29 28-1,-1 0 17,0 0 15,0 0-16</inkml:trace>
  <inkml:trace contextRef="#ctx0" brushRef="#br0" timeOffset="12825.1">8170 7292 0,'0'28'188,"0"0"-173,0 29 1,0-1-16,0-27 16,0 84 15,28-85-16,-28 29-15,28-1 16,1 57 0,-1-28-1,0-28 1,0 27 0,-28 29-1,0-84 1,29 27-1,-29-28 1,0 1 0,28-29-1,-28 28 32,0 0-31,28 0-1,-28-56 157,0 0-156,0-29 0,0 29-1,0 0 1,-28 0-1,28-1 1,0-27 0,-28 28-1,28-1 1,0 1 0,0 0 15,-29 28-16,1-28 17,0 28 15,0 0-32,-1 0 1,1 0 31,28 28-16,-28-28-31,56 0 78,0-28-47,1 28-31,-1 0 16,0 0 0,0 0-1,-28-29 1,29 29-1,-1 0 1,0 0 0</inkml:trace>
  <inkml:trace contextRef="#ctx0" brushRef="#br0" timeOffset="30258.49">2799 11249 0,'28'0'156,"339"-170"-140,368-169-16,-113 56 16,-226 142-1,-198 28 1,56 28 0,-225 57-1,84 0 1,85-29-1,56 1 1,622-199 0,-141 114-1,-480 113 1,-29 0 0,-169-1-1,-1 29 1,-28 0-1,57-28 1,-28 28 0,84 0 15,0 0-15,-56 0-1,0 0 1,28 0-1,-85 0 1,29 0 0,28 0-1,-57 0 1,0 0 0,1 0-1,-1 0 16</inkml:trace>
  <inkml:trace contextRef="#ctx0" brushRef="#br0" timeOffset="34804.29">2855 10684 0,'57'0'172,"282"-142"-157,170-56 1,-226 85 0,141-56-1,-368 141 1,57-29-1,-56 29 1,-1 28 0,1-29-1,28 1 1,-29 0 0,-28 0-1,29 28 1,-29 0-1,0 0 17,1 0-1,-29-29-15,28 29 30,-85 29-14,-84 55-17,-481 227 1,396-198 0,-113 57-1,169-85 1,85-29-16,29 1 15,-57-1 17,85-27-17,-1-1 1,1 0 0,0-28 15,-1 0 0,58 0 94,169-141-125,339-170 16,-85 57-1,-254 169 1,28-57 0,-169 142-1,-29-28 1,0 0-1,0 28 1,-28-28 0,57 28-1,-29 0 32,0 0-16,1 0 16,-1 0-31,0 0 31,-56 0 187,0 0-187,28 28 0,-29-28-31,1 0 15,0 28 16,0-28-32,-1 0 1,1 0 31,0 0-32,0 0 32,28 28-31,-29-28 0,1 0 30,28 29-30,-28-29 15,0 28-15,-1 0 0,1 1-1,0-29 1,-1 56-1,1-56 1,0 28 0,0 29-1,-1-57 1,1 0 0,0 56 15,0-56-16,-1 0 1,29 29 0,-28-29-1,0 28 17,56-28 61,29-28-93,27-29 16,86 1 0,56-29-1,311-141 1,-424 169-1,-28 1 1,-28 27 0,-29 29-1,0 0 1,-28-28 0,28 28-1,-56 0 63,0 28-62,-85 29 0,28-1-1,-113 29 1,142-57-1,-57 1 1,84-1 0,1 0-1,0 1 1,-1-29 0,1 0 15</inkml:trace>
  <inkml:trace contextRef="#ctx0" brushRef="#br0" timeOffset="37569.26">4551 10316 0,'0'28'172,"0"57"-156,0 113-16,0 170 16,-28-29-1,28-57 1,-28-56-1,28-169 1,0-29 0,0 29-1,0-29 1,0 0 46,85-56 17,28-29-64,-57 57-15,57-28 16,-28 0-1,0 0 1,0 28 0,-57-29-1,0 29 1,29 0 0,-29 0-1,0 0 1,1 0 31,-1 0-32,0 0 32,-56-28 47,0 28-94,-1-28 16,-27 0-16,-29-29 15,28 29 1,-27-29-1,27 57 1,57-28-16,-28 28 16,0-28-1,28 0 17,-29 28-17,58 0 110,27 0-125,-28 28 16,29 0-16,-29 0 15,0-28 1,1 0-16,-1 0 16,0 29 15,1-1-15,-1-28-1,0 28 1,0-28-1,-28 28 1,0 1 15,29-29-15,-29 28 46,0 0-46,0 0 15,0 29-15,-57-29 0,57 29-1,-56-1 1,27 1-1,1-29 1,0 0 0,-1 1-1,29-1 1</inkml:trace>
  <inkml:trace contextRef="#ctx0" brushRef="#br0" timeOffset="39147.01">5965 11192 0,'0'-28'187,"85"0"-171,-57 28-16,28-28 15,1 28 1,-29 0 0,57 0-1,-57 0 16,1 28-31,-29 0 32,28 29-32,-28-29 15,0 85 1,0-85 0,0 29-16,0-29 31,-28 113-16,-1 1 1,1-86 0,0-28-1,28 29 1,-28-57 0,28 28-1,28-28 16,28 0-15,170 0 0,-84-28-16,27 0 15,-55-1 17,-58 1-17,-28 28 16,1 0-15</inkml:trace>
  <inkml:trace contextRef="#ctx0" brushRef="#br0" timeOffset="41255.9">7604 11503 0,'0'-28'187,"-28"28"-171,0 0 15,0 0 0,-29 0-31,1 0 16,-58 0-1,30 0 1,55 28 15,1 1-15,0-1 0,0-28 15,28 28-16,-29-28-15,29 28 16,-28 1 15,28-1-15,0 0-16,0 0 31,0 1-31,0-1 31,0 0-15,0 0 0,0 1 15,28-29-15,1 28-1,-1 0 1,0-28 15,-28 28-31,28-28 16,29 0-1,-29 0 1,57 0 0,0-28-1,-85 0 1,56-29 15,-27 29-15,-29 0-1,28 28 1,-28-28 0,0-1-1,0 1 1,0 0 15,0 0-15,0-1 46,28 29 48,-28 29-110,0-1 15,57-28 1,-1 28-16,-56 0 15,57 1 1,-29-1 0,0-28-1,1 28 1,-1-28 0,0 28-1,0-28 48</inkml:trace>
  <inkml:trace contextRef="#ctx0" brushRef="#br0" timeOffset="43036.73">8311 11673 0,'0'-28'140,"-28"28"-140,28-29 31,-28 29-15,-1 0 31,1 0-47,28-28 16,-28 28-1,0 0 1,-1 0-1,1-28 1,0 28 0,-1 0 31,29 28-16,-28-28-31,28 28 47,0 1-32,0-1 1,-28-28-16,28 56 31,0-27 0,28-1-15,-28 0 0,28-28-16,1 28 15,27 1 1,-27-29 15,-1 28-15,0-28-1,0 0 1,1 0 15,-1-28-15,28-29 0,-27-28-1,-1 1 1,0 27-16,1 1 15,-29-29 1,28 28 0,-28 1-16,0 27 15,0-55 1,0 27 0,0 1-1,0-57 1,0 84 15,-28-84-15,-1 28-1,29 57 1,0-28 0,0 27-1,0 1 1,-28 0-1</inkml:trace>
  <inkml:trace contextRef="#ctx0" brushRef="#br0" timeOffset="45317.44">8848 11475 0,'-28'0'187,"28"28"-155,-28-28-17,-1 0-15,1 0 16,0 29-1,0-29 1,28 28 15,-29-28-15,1 0 0,28 28-1,-28-28-15,28 28 16,-28 1-1,28-1 1,0 0-16,-29-28 16,29 57-1,0-29 17,0 0-17,0 0 1,0 1-1,0-1 1,29 0 0,-29 0-1,0 1 1,28-29 0,0 28-1,0-28-15,1 28 31,-1-28-15,0 0 0,29 0-1,-57-28 17,56 0-17,-27-57 1,-1 57-1,0-57 1,0-56 0,-28 84-1,0-28 1,0 0 0,0 29-1,0-1 1,0 29-1,0 0 1,0 0 0,0-29 15,-28 29-15,28-29-1,0 29 1,0-28-1,0-1 1,0 29 0,0-1-1,0 1 1,-28 0 0,28 0-1,0-1 1,0 114 78,28-28-79,-28 84 1,28-28-16,1 0 15,-29-28 1,28 56 0,-28-84-1,0 28 1,28-29 0,-28-28-1,28 1 1,1 55-1,27-55 1,-27-1 15,27 0-15,-28 0 0,1-28-1,-1 29 1</inkml:trace>
  <inkml:trace contextRef="#ctx0" brushRef="#br0" timeOffset="55939.94">3025 13227 0,'-28'57'63,"28"28"-48,-29-57 1,29 28-1,0-27 1,0-1 15,0 29-15,0 84 0,0 707-1,0-566 1,0 1-16,0-142 15,0 340 1,0 310 0,0-254-1,-28 198 1,28-509 0,0-169-1,0-29 16,0 0-15,0 1 0,0-1 31,0 0-32,0 0 32,0 1-16,0-1 1</inkml:trace>
  <inkml:trace contextRef="#ctx0" brushRef="#br0" timeOffset="59392.25">3025 13171 0,'56'0'172,"397"28"-172,1045 29 16,142 27-1,-481-84-15,-396 0 16,85 29 0,-565-1-1,-1 28-15,58-56 31,338 57-15,-169-29 0,-311-28-1,113-28 1,-142 0 0,-84-1-1,113 1 1,-85 28-1,-56 0 1,-29 0 0,0 0-1,0 0 17,-28 28-1,0 114-16,0 197 1,-28 0 0,-28 0-16,56 0 15,-29 227 1,29-57 0,0-227-1,57 255 1,-29-282-1,0 27-15,1 1 16,-1 56 0,-28-198-1,0-56-15,0-57 16,0 1 15,0-1 0,0 0-15,0 0 93,-57-28-30,-56-56-79,-141-29 15,-85 0 1,-142 29-1,-282-29 1,452 85 0,-311 0-1,28 57 1,283-29 0,-197 85-1,281-85 1,114-28-1,-28 28 1,-29-28 0,86 0-1,-86 0 17,-169 0-17,-1 29 1,1-1-1,-57-28 1,255 28 0,-57-28-1,57 0 1,84 0 0,-27 0-1,55 0 1,1 0-1,0 0 1,-57 0 0,28 0 15,29 0-15,-142 0-1,57 0 1,-141 0-1,-29 0 1,170 0 0,-56 0-1,27-28 1,86 28 0,-29 0-1,-56-28 1,112 28-1,-27 0 1,-1-29 0,1 29-1,-29-28 17,57 28-17,-1-28 1,1 28-1</inkml:trace>
  <inkml:trace contextRef="#ctx0" brushRef="#br0" timeOffset="61454.27">1753 13793 0,'0'28'140,"-29"-28"-93,29 28-16,-28-28-15,28 28 0,0 29-1,-28-29 1,0 1 0,28-1-1,0 0 1,0 0-1,0 1 1,0-1 0,28 0-1,57-28 1,113 0 15,28-28-15,-141 28-1,-1-28 1,-27-1 0,-29 29 15,0-28-31,-28 0 31,29 0-15,-29-1 15,0 1-15,0 0 15,0-1-15,0 1-1,-57-28 1,57 27-1,-85 1 1,57 0 0,-28 0-1,-1 28 1,29 0 0,-1-29-1,-27 29 1,28-28-1,-1 28 17,1 0-1</inkml:trace>
  <inkml:trace contextRef="#ctx0" brushRef="#br0" timeOffset="63531.9">424 14669 0,'0'28'141,"0"0"-110,0 1-16,0 27 1,0 142-16,28 113 16,1 0-1,-29 28 1,28-85-16,0-112 16,-28 112-1,28-113 1,1-56-1,-29 113 1,28-28 0,-28-86-1,0 1 1,28 85 0,-28-85-1,0-1 16,0-27-15,0-29-16,0 29 31,0-29 1,-28-28 61,0-57-77,-1 29-16,-27-57 16,-1 1-16,57-1 15,-113-113 16,85 170-15,0-29-16,28 29 16,-29 0-1,29-1 17,0 58 46,0-1-63,0 28 1,29-27-16,-1 27 16,0 1-1,-28-29 1,29 0 15,-1 1-31,-28-1 31,28 0-15,0 0-16,1-28 31,-29 29-15,56-1-1,-28-28 17,1 0-1,-1 0-31,0 0 31,0 0-15,29-85-1,0 85 1,-29-85 0,28 57-1,-27 28 1,-1-57 0,0 57-1,0 0 1,-28-28-1</inkml:trace>
  <inkml:trace contextRef="#ctx0" brushRef="#br0" timeOffset="65219">1244 17354 0,'-28'0'125,"28"-28"-63,28 28 16,0 0-62,-28-29-16,28 29 16,1 0-1,-1 0 1,0 29 31,-28-1-32,28 0 1,-28 0 0,0 1-16,0 56 31,-28-85-16,28 28-15,0 0 16,0 0 0,0 1-1,0-1 1,-28 0 15,28 0-15,0 1 31,0-1 15,28-28-46,0 0-1,1 0 1,-1 0 0,0 0 15,1 0 0</inkml:trace>
  <inkml:trace contextRef="#ctx0" brushRef="#br0" timeOffset="71826.82">2035 17863 0,'29'0'234,"-1"0"-218,0 0-16,0-29 47,1 29-31,-1 0 46,0 0-31</inkml:trace>
  <inkml:trace contextRef="#ctx0" brushRef="#br0" timeOffset="98260.12">2997 14217 0,'84'0'187,"114"56"-171,57-28-16,-114 1 16,-56-29-1,0 28 1,-29-28 0,-28 0-1,1 0 1,56 0-1,-1 0 17,58 0-17,27 0 1,-112 0 0,141 0-1,84 0 1,-112 0-1,226 0 1,-170 0 0,-170 0-1,142 0 1,-28 0 0,0 0-1,225 0 1,-112 0 15,-198 0-15,56 0-1,-28 0 1,-56 0 0,112 0-1,1 0 1,-57 0-1,57 0 1,28 0 0,-142 0-1,142 28 1,56 0 0,-56 1-1,198 56 1,-57-29 15,-141-28-15,142 1-1,-86-1 1,-198 0 0,114 0-1,-29-28 1,-27 0-1,27 29 1,57-29 0,-170 0-1,57 0 1,56 0 0,-84 0-1,112 0 16,-27 0-15,-29 0 0,28 0-1,-56 0 1,-57 0 0,0 0-1,1 0 1,-1 0-1,0 0 17,-28 28 61,29-28-77</inkml:trace>
  <inkml:trace contextRef="#ctx0" brushRef="#br0" timeOffset="101353.14">11534 13821 0,'0'-28'172,"0"-1"-156,0 1-1,28-28-15,29-29 16,56-85 0,-85 85 15,0 1-31,29-1 15,28 28 1,-57-27 0,0 55-1,29-27 1,-29 27 0,0 29-1,-28-28 1,0 0-1,29 28 1,-86 0 140,0 28-140,1 57-16,-1-28 16,1-57-1,-1 56 1,29-28-1,0-28 1,0 0 15,28-56 47,56 28-62,1-29-16,27 0 16,-55 29-1,55 0 1,-55 28 0,-1-28-1,0 28 1,-28-29-1,29 29 48,-1 29-47,0-29-1,-28 28 1,57 28-1,-57-27 1,0-1 0,28-28-1,0 0 17,-28 28-32,0 1 31</inkml:trace>
  <inkml:trace contextRef="#ctx0" brushRef="#br0" timeOffset="102587.22">11449 11136 0,'0'28'125,"0"0"-94,0 1-16,0-1 1,0 57 0,0-29-16,0-28 15,0 29 1,0-29 0,0 1-1,0-1 1,0 0 15,0 0 0,0 1-15,0-1 31,0 0-16,0 0 47</inkml:trace>
  <inkml:trace contextRef="#ctx0" brushRef="#br0" timeOffset="104180.6">12071 11249 0,'28'-28'297,"1"28"-282,-1 0 1,0 0 15,-28 28 32,0 0-63,0 0 15,0 1 17,0-1-17,0 0 1,0 0-1,0 1 1,-28-1 0,28 0-1,-28-28 1,28 57 0,0-29 30,0 0-14,28 1-17,0-29 1,29 0 0,-29 0-1,-28 28 1,28-28-1,0 28 1,1-28 0,-1 0 15</inkml:trace>
  <inkml:trace contextRef="#ctx0" brushRef="#br0" timeOffset="109163.8">16990 8592 0,'-28'0'156,"-1"0"-125,1 0 32,0 0-63,0 0 15,-1 0 1,-27 0 0,-1 0-1,29 0 1,-29 0 0,29 0-1,0 0 1,-29 0-1,29 0 1,0 0 15,-1 0-15,1 0 0,-28 0-1,-1 0 1,29 28-1,0-28 1,-1 29 0,1-29-1,0 0 1,0 0 0,-1 0-1,1 28 1,-29 0-1,29 0 17,-28 1-17,56-1 1,-29 0 0,-27 0-1,56 1 1,-28-1-1,-1 0 1,1 29 0,0-1-1,-1 1 1,1 28 0,28-29-1,-28 29 1,0 28 15,-1-56-15,29 27-1,-28 1 1,28-57 0,0 29-16,0-29 15,0 57 1,0-29-1,0-27 1,28-1 0,-28 29-1,0-1 17,29-56-1,-29 57-16,28-29 1,-28 0 0,28 0-1,29-28 1,-57 29 0,56-1-1,29 0 1,-57-28-1,85 28 1,-56-28 0,0 0-1,27 0 1,58 0 0,-29 0-1,141 0 16,1 0-15,-142-28 0,56 0-1,-56 0 1,-56 28 0,56 0-1,57-29 1,-114 29-1,227 0 1,254 29 0,-28-1-1,339 0 1,-283-28 0,-310 0 15,84 57-16,0-57 1,-197 0 0,253 0-1,-55 0 1,-171 0 0,425-29-1,-29 29 1,-423 0-1,140 0 1,-197 0 0,-28 0-1,27 29 1,1-1 15,0 0-15,282 85-1,312 170 1,-425-198 0,283 113-1,-169-114 1,-227-55 0,170 27-1,-113-56 1,0 0-16,0 0 15,311 0 1,-142-56 0,-169 27-1,28-27 17,-169 56-17,-29-28 1,0 28 15,-28-29 0,29 29 16,-1 0-31,0-56-16,1-29 15,112-56 1,-113 56 0,29 28-16,-29 29 31,-28 0-15,0 0-1,28 28 1,-28-29-1,28-27 17,-28-1-17,29 1 1,-1 27 0,-28 1-1,0 0 1,0 0-1,0-1 17,0 1 15</inkml:trace>
  <inkml:trace contextRef="#ctx0" brushRef="#br0" timeOffset="112053.74">26517 10627 0,'28'0'297,"0"0"-281,0 0-1,1 0 1,-1 0-1,0 0 17,1 0-17,-29-28 32,28 28-31,-28-28-1,0-1 17,0 1-17,0 0 1,0-1 46,0 1-30,-28 28-32,-1 0 31,1 0 16,0 0-32,28 28 1,-29-28 0,1 29-1,0-1 1,0 0 31,28 1-47,0-1 15,0 0 1,0 0 0,0 1 15,0 27-15,28-28-1,0 1 1,0-1-1,86 0 1,-86-28 0,113 28-1,-84-28 1,-1 0 0,-28 0-1,1 0 1,-1 0 15,0 0-31,57-56 31,-57 56-15,1-28 0,27 28-1,-28 0 16,1 0 1,-1 0 15,0 28-32,1-28 1,-1 28-1,0 0 1,0 1 0,57-1-1,-57 0 1,29-28 0,-57 29-1,28-29 1,0 0-1,1 0 17</inkml:trace>
  <inkml:trace contextRef="#ctx0" brushRef="#br0" timeOffset="114068.9">27987 10881 0,'0'-28'156,"0"0"-109,-29 28 0,1 0-1,0 0-14,0 0-1,28 28 47,0 0-62,0 1-1,0-1 1,0 0 15,28 1-15,0-29-1,0 0 1,1 28 0,-1-28 15,28 0 0,-56-28-15,29 28-1,-1-57 1,0 0 0,1 1-1,-1-1 1,-28 1 0,0 28-1,0-1 1,28 1-1,-28 0 1,0 0 0,0-29-1,0 29 17,0-1-17,0 1 1,0 0-1,0 0 1,0-1 0,0 58 109,0-1-125,0 0 15,0 29 1,28-29 0,1 85-1,-1-56 1,-28-29-1,0 0 1,0 0 0,28-28-1,-28 29 1,28-29 0,1 0-1,-29 28 16,0 0 1,28-28-17,0 0 17</inkml:trace>
  <inkml:trace contextRef="#ctx0" brushRef="#br0" timeOffset="184489.8">8311 5879 0,'-28'0'125,"0"28"-94,-29-28-31,-197 0 16,-623-141-16,58 28 31,-284-114-15,481 199-1,481 0 1,-85 28 0,169 0-1,-28 0-15,29 0 16,-86 0-1,-84 0 1,28 0 0,-141 113-1,169-85 1,-56 57 0,28-28-1,114-29 1,-1 0 15,0 0-15,-28 1-1,-85 55 1,57-27 0,56-29-1,0 29 1,-28-29-1,28 57 1,-84 113 0,-29 141-1,141-170 1,-84 142 0,113-113-1,28-141 16,0 27-15,0 30 0,0-86-1,28 113 1,-28-56 0,28-29-1,0 29 1,-28-28-1,0-1 1,57 29 0,-1-28-1,-27-1 1,27 29 0,1 0 15,-29-57-16,85 57 1,-28-29 0,0 1-1,28 56 1,170 85 0,27-57-1,86 85 1,-198-169-1,-113-29 1,169 57 0,114 28-1,-199-85 1,397 57 0,-86-29 15,-197-56-16,311-28 1,-85-57 0,-311 57-1,226-85 1,28-28 0,-198 56-1,57-56 1,-85 56-1,-169 57 1,28-1 0,0 1-1,-57 28 1,85-57 15,28-27-15,-56 55-1,56-27 1,-28 28 0,-56-1-1,84-55 1,86-171 0,-143 86-1,29-29 1,-56 85-1,-29 56 1,0 1 0,-28-29-1,0 0 17,0-141-17,-56 56 1,-57-56-1,-509-565 1,-509-142 0,735 735-1,-226-28 1,170 141 0,254 85-1,-480 29 1,56 84-1,339-28 1,-28-1 0,113-27 15,114-29-15,-86 57-1,0-29 1,142-27-1,-28-1 1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0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93.02325" units="1/cm"/>
          <inkml:channelProperty channel="Y" name="resolution" value="55.95855" units="1/cm"/>
          <inkml:channelProperty channel="T" name="resolution" value="1" units="1/dev"/>
        </inkml:channelProperties>
      </inkml:inkSource>
      <inkml:timestamp xml:id="ts0" timeString="2023-11-03T13:25:15.972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9930 6755 0,'-28'0'157,"28"28"-142,-29-28 1,1 0 15,0 0-15,0 0-1,-86 0 1,30 0 0,27 0-1,-28-28 1,0 28-1,29 0 1,-29-28 0,-84 28-1,112 0 1,-113-29 0,57 29 15,28 0-16,1 0 1,-1-28 0,57 28-1,-57 0 1,-57 0 0,29 0-1,-56 0 1,-86 0-1,142 0 1,-56 0 0,27 0-1,114 0 1,-85 0 15,0-28-15,28 28-1,-56 0 1,-1-28 0,58 28-1,-30 0 1,-55-29 0,112 29-1,-112 0 1,56 0-1,56 0 1,-56 0 0,28 0-1,29 0 1,-29 0 15,28 0-15,29 0-1,-28 0 1,-1 29 0,29-29-1,-57 28 1,0 28 0,29-27-1,27 27 1,1 1-1,28-29 1,-57 0 0,57 29-1,0-1 17,-28 1-17,0 56 1,28-85-1,-28 57 1,28 0 0,0-57-1,0 28 1,0 1 0,0-29-1,0 1 16,28-1-15,-28 0 15,28 0 1,0 1-1,1-29-16,56 0 1,-57 0 0,0 0-1,0 28 1,57-28 0,-28 0-1,84 28 1,-28-28-1,-85 0 1,29 0 15,28 0-15,-57 0 0,57 0-1,28 0 1,-85 0-1,85 0 1,-28 0 0,-57 0-1,85 0 1,-56 0 0,-29 0-1,85 0 1,-84 0-1,27 0-15,-28 0 32,85 0-17,29 0 1,-86 0 0,29 0-1,28 0 1,-28 0-1,56 0 1,29 0 0,-113 0-1,112 0 1,-56 0 0,-85 0-1,86 0 16,-30 0-15,-55 0 0,112 0-1,-56 0 1,-57 0 0,85 0-1,-56 0 1,-1 0-1,57 0 1,-28 0 0,-57 0-1,170-28 1,-28 0 0,-57 28-1,0-29 16,-56 29-15,27 0 0,-55 0-1,-1 0 1,0 0 0,29 0-1,-1 0 16,1 0-15,-29 0 0,57 0-1,-57 0 1,29 0 0,-29 0-1,29 0 16,-29 0-15,0 0 0,0 0-1,1 0 1,-1 0 0,0 0 30,0 0 1,1-28 110,-29 0-142,28 28 1,-28-28-1,0-1-15,0 1 16,28 28 0,-28-28 15,0-1-15,0 1-1,0 0 1,0 0 15,0-29-15,0 29-1,0 0 1,0-1 0,0-27-1,-28 56 1,28-28-1,0-29 1,-28 29 0,28 0 15,0-1-15,0 1-1,0 0 1,0-1 15,0 1-15,-29 28-1,29-28 32,-28 28-16,28-28 1,-28 28-1,0 0-15,-1 0-1,1 0 1,0 0-1,0 0 48</inkml:trace>
  <inkml:trace contextRef="#ctx0" brushRef="#br0" timeOffset="3093.01">12919 4494 0,'28'0'187,"29"0"-187,84 0 16,85 0 0,114 0-16,-58 0 15,142 0 1,-282 0 15,-86 0-15,29 0-1,0 0 1,-57 0 0,0 0-1,29 0 1,-29 0 0,85 0-1,-84 0 1,-1 0-1,0 0 1,29 0 0,-57 28 15,28-28 0,0 0 16,-56 0 62,0 0-93,-1 0 0,1-28-16,0 0 15,-29 28 17,29-29-17,0 1 1,-1 0-1,-27 28 1,28 0 15,28-29-31,-29 29 16,1 0 0,28-28-1,-28 28 32,0 0-31,28-28-1,0 0 32,28 28 31,28 0-62,1 0 0,-1 28-16,-27 0 15,27-28 1,29 28-1,0 1 1,-57-1 15,0 0-15,1-28 15,-29 29-15,28-29-1,-28 28 1,0 0 31,-28 0-31,-1 1-1,-55 55 1,-86 1-16,0-28 15,1 27 1,112-27 15,1-29-15,27-28 0,1 0-1,0 0 16,0 0 16,-1 0-47</inkml:trace>
  <inkml:trace contextRef="#ctx0" brushRef="#br0" timeOffset="5779.88">13371 5370 0,'57'0'219,"-29"0"-219,29 0 16,-29 28-1,29-28-15,-1 0 16,29 28-1,-29-28 1,86 0 0,-1 29-1,-56-1 1,56 0 15,1-28-15,-114 29-1,85-29 1,-28 28 0,-29-28-1,-27 0 1,-1 0 0,0 28-1,0-28 1,1 0 15,-29 28 0,28-28-15,0 0 0,0 0-1,1 0 1,-1 0-1,0 0 1,1 0 0,-1 0 31,0 0-1,-28-28 1,-28 28-15,28-28-17,-28 0 1,-1 28-1,29-29 1,-28 1 0,-29 0-1,29 28 1,0-29 0,28 1-1,-57 28 1,57-28-1,-28 28-15,28-28 32,-28 28-1,28-29-15,0 58 77,28-29-93,0 28 16,29 0 0,-1 0-1,-27 1 1,-1-29-1,0 0-15,-28 28 16,29 0 15,-1-28-15,-28 29-16,0-1 16,28 0-1,0-28 16,-28 28-15,0 1 0,-28-29-1,0 56 1,-85-28 0,0 29-1,0-29 1,84-28-1,-55 28 1,55-28 15,1 29-15,0-29 0,-29 0-1,57 28 1,-28-28-1,0 0 17,-1 0-17</inkml:trace>
  <inkml:trace contextRef="#ctx0" brushRef="#br0" timeOffset="51394.14">2262 14528 0,'0'28'109,"0"0"-78,0 29 0,0-1-31,0 29 16,0 113 0,0-29-16,0 171 15,0 310 1,0-255 0,0-253 15,0 112-16,-29-113 1,29-56 0,0 169-1,-28 29 1,28-170 0,0 28-1,0 1 1,0-114-1,0 57 1,0-57 0,0 0-1,0 1 1,0-1 15,0 0-15,0 0 15,0 1 0</inkml:trace>
  <inkml:trace contextRef="#ctx0" brushRef="#br0" timeOffset="55424.43">2403 14810 0,'28'0'172,"57"28"-172,169 1 15,114-29 1,56 56-16,-141-56 16,310 28-1,-451-28 16,-1 0-31,0 29 16,396-1 0,29-28-1,-283 0 1,141 0 0,-170 28-1,-169-28 1,56 0-1,-84 0 1,-29 0-16,57 0 16,84 0-1,29 0 1,-113 0 15,28 0-15,-85 0-1,1 0-15,27 29 16,-28-29 0,29 0-1,0 0 1,27 28 0,-27-28-1,28 0 1,113 0-1,-57 0 1,255-28 0,-170 28-1,-170 0 1,-27-29 15,-1 29-15,0 0-1,29 0 17,-29 0-1,0 0-31,1 0 16,-1 0 15,0 0-16,0 0 32,1 0-15,-1 0 14,-28 29-46,0 27 16,0-28 0,0 29-1,28 84 1,57 255 0,-57-198-1,1 28 1,-1-28-1,0-85 1,29 141 0,-29 0-1,-28-140 17,0 83-17,0-55 1,0-57-1,0 28 1,0-29 0,0-55-1,0 55 1,-28 29 0,28-84-1,-29 84 1,1-85-1,28 0 1,0 1 31,0-1-31,-28 0 15,0-28 0,-1 0-15,1 0-1,0 0 1,-29 0 0,29 0-1,-57 28 1,57-28-1,-85 0-15,-57 0 16,-197 29 15,140-1-15,143 0 0,-312-28-1,-85 57 1,199-29-1,-29 0 1,141-28 0,57 0-1,-226 0 1,-142-56 0,283 56-1,-28 0 1,85 0-1,84 0 17,-56 0-17,28 0 1,-28 0 0,0 0-1,28 0 1,29 0-1,-1 0 1,-27 0 0,27 0-1,-28 0 1,29 0 0,-29 0-1,0 0 1,28 0 15,-112-29-15,56 29-1,56 0 1,1 0-16,27 0 31,1 0-15,0 0-16,0 0 15,-57-28 1,28 28 0,29-28-16,-29 28 15,-56-28 1,57 28 0,-1 0-16,57-29 15,-113 29 1,85 0 15,-29-28-15,-56 28-1,113-28 1,-113 0 0,28 28-1,57-29 1,-28 29-1,-1 0 1,29 0 0,0 0-1,-29 0 1,1-28 15,27 28 0,1 0-15,28-28 0,-28 28-1,-1 0 1,1 0 0</inkml:trace>
  <inkml:trace contextRef="#ctx0" brushRef="#br0" timeOffset="60516.98">19449 4239 0,'-28'0'78,"0"0"-31,-1 0-16,1 0-15,0-28 0,0 0-16,-1 28 15,-55-57 1,27 57 15,29 0-31,-29 0 31,29 0-15,0 0-16,-1 0 16,1-28-1,-28 28 1,27-28 0,-27 28-1,28 0 1,-1 0-16,-27 0 31,56-28-15,-29 28-16,1 0 31,0 0-15,0-29-1,-29 29 1,29 0-1,0 0 1,-1 0 0,-55 0-1,27 0 1,0-28 0,1 28-1,-1 0 1,1 0-16,-1 0 31,29 0-15,-29 0 15,1 0-15,28 0-1,-1 0 1,-27 28-1,28-28 1,-1 0 0,-27 29-1,28-29 1,-1 0 0,1 28-1,28 0 1,-28-28-1,-1 0 1,29 28 15,-28 1-15,0-29 0,0 28-1,28 0 1,0 0-1,-29 29 1,29-29-16,-28 29 16,0-1-1,28-27 1,0-1-16,0 28 31,0-27-15,0-1-1,0 28 1,0-27 15,0-1-15,28 28 0,0-27-1,1-1 1,-1 28-1,0-27 1,0-1 0,29 0-1,-29 1 1,1-1-16,27-28 16,29 56-1,-57-27 1,29-29-1,-57 28 1,56-28 0,-28 0-1,-28 28-15,57-28 16,0 28 0,-1 1-1,1-29 1,27 0-1,58 28 1,-114-28 0,85 0-1,-56 0 1,-1 0-16,-28 0 16,114 0-1,-114 0 16,113 0-15,-56-28 0,-28 28-1,28-29 1,-1 1 0,-27 0-1,-1 0 1,1 28-1,-29-29 17,1 1-17,-29 0 17,0-29-17,0 29-15,0-29 31,-57-56-15,-28 0 0,85 85-1,-28 0 1,0-29 0,-1 57 15,29-28-31,-28 28 31,28-28-15,-28 28-1</inkml:trace>
  <inkml:trace contextRef="#ctx0" brushRef="#br0" timeOffset="62688.35">1611 14838 0,'-28'0'156,"0"29"-94,0-29-62,28 28 16,-29 0-16,1 0 16,0-28-1,28 29 1,-29-1 0,1 0-1,28 1 16,0-1-15,0 0 15,0 0-31,28 1 32,1-29-17,-1 28 1,-28 0-1,57-28 1,-29 0 0,0 0-1,29-28 1,-1 0 0,-28 28-1,29-57 1,-29 57 15,-28-28-15,29 28-1,-29-28 1,0-1 0,0 1 15,-29 0 0,1 28 0,0 0-31,-1-29 32,1 29-17,0 0 16</inkml:trace>
  <inkml:trace contextRef="#ctx0" brushRef="#br0" timeOffset="64984.68">254 18089 0,'0'-28'187,"57"-1"-171,-29 29-16,1-28 16,27 0-1,1-1-15,-29 1 16,28 28-1,-27 0-15,-1 0 32,0 0-17,0 0 1,1 0 0,-29 28-1,0 1 1,0 27-1,0-27 1,0 27-16,-29 1 16,29-29-1,-28 0-15,28 29 16,-28-57 0,28 28-1,0 0-15,-28-28 31,28 28-31,28-28 79,0 0-33,0 0-30,1 0 15,-1 0 32,-28-28-16,0-28-32,0-29 1,28-28-16,-28 56 16,0 29-1,29-29-15,-29 29 16,0 0 15,0 0-15,-29 28 109</inkml:trace>
  <inkml:trace contextRef="#ctx0" brushRef="#br0" timeOffset="65989.97">763 17863 0,'29'0'204,"27"0"-189,1 0 1,-29-29-1,0 29 1,0 0 31,1 0-16,-29 29 16,28-29-31,-28 28-1,28-28 79,-28-28-94,29-29 31,-29-28-31,0 29 32,28-1-32,-28 29 31,0 0-16,0 0 17,0-1-1,0 1 0,0 0 63</inkml:trace>
  <inkml:trace contextRef="#ctx0" brushRef="#br0" timeOffset="66567.96">1131 17439 0,'0'28'172,"0"0"-156,0 1-1,0-1 1,0 0 0,0 0-1,0 1-15,0-1 32,-28-28-1,28 28-16,0 0 17</inkml:trace>
  <inkml:trace contextRef="#ctx0" brushRef="#br0" timeOffset="67723.92">1413 17467 0,'-28'28'93,"28"1"-30,0-1-32,0 0 0,0 0-31,0 1 32,0-1-32,0 0 31,0 0-15,0 1 46,0-1-31,0 0-15</inkml:trace>
  <inkml:trace contextRef="#ctx0" brushRef="#br0" timeOffset="68754.94">1300 18230 0,'29'0'203,"-1"0"-187,0 0 0,0 0-1,1 0 17,-1 0-32,0 0 15,1 0 48,-1 0-32</inkml:trace>
  <inkml:trace contextRef="#ctx0" brushRef="#br0" timeOffset="69926.53">1668 17947 0,'0'29'78,"0"-1"0,0 0-47,0 1-15,0-1-1,28-28-15,-28 56 16,0-27 0,57 55-1,-29-27 1,-28-29-1,28 0 1,-28 29 0,0-29-1,0 0 32,0 1-31</inkml:trace>
  <inkml:trace contextRef="#ctx0" brushRef="#br0" timeOffset="72769.62">2262 15658 0,'28'28'250,"28"-28"-235,-27 0-15,27 29 16,-28-29-1,1 28 1,27-28 0,1 0-1,28 28 1,84 0 0,-112 1-1,84-1 1,-28 0-1,-28-28 1,28 28 0,-28-28-1,-29 29 1,114-29 0,169 0-1,-197 28 16,169-28-15,-142 0 0,-56 0-1,29 0 1,55 28 0,-112-28-1,170 0 1,-1 29-1,-84-29 1,226 56 0,-1-28-1,-197 1 1,141 55 0,-28-55 15,-226-29-16,85 0 1,-114 0 0,1 0-16,-1 0 15,1 0 1,56 0 0,-56 0-1,56 0 1,-29 0-1,-27-29 1,0 29 0,27 0-1,-55 0 1,27-28 15,-28 28-15,1 0-1,-1 0 1,28 0 0,-27 0 15,-1 0-15,0 0-1,29-28 1,-1 0-1,-27 28 1,55-29 0,-55 29-1,-1 0 1,0 0 15,29 0-15,-29 0-1,0 0 1,1-28 0,27 28-16,-28 0 15,1 0 1,27 0 0,-28 0 15,1 0-16,-1 0 17,0 0-32,29 0 15,28 0 1,28 0 0,56 0-1,-84 0 1</inkml:trace>
  <inkml:trace contextRef="#ctx0" brushRef="#br0" timeOffset="75940.75">7011 15178 0,'0'-29'250,"28"1"-234,0 0-16,-28-29 16,113-56-1,57-28-15,-57 28 32,28-28-17,-112 84 1,-1 57-1,0 0 1,-28-28 0,29 28 15,-1-29 0,-56 29 63,-1 0-78,-27 0-1,-57 0 1,56 0-1,-56 0 1,28 0 0,57 0 15,0 0-15,56 0 62,0 0-78,29-28 15,28 28 1,-1-28 0,29 28-1,-28 0 1,-56 0-1,-1 0 1,0 0 0,0 0 15,-28 28 63,0 0-94,0 1 31,0-1-31,0 0 16,0 1 15,0-1-16,0 0 17</inkml:trace>
  <inkml:trace contextRef="#ctx0" brushRef="#br0" timeOffset="77112.35">8255 14132 0,'0'28'156,"0"0"-125,0 29-31,0-1 16,0-27-1,0-1-15,0 0 16,0 85 0,0-84 15,0-1-31,0 0 31,0 0-15,28-28-1,-28 29 1,0-1 31</inkml:trace>
  <inkml:trace contextRef="#ctx0" brushRef="#br0" timeOffset="79512.96">8650 14188 0,'0'-28'187,"29"0"-171,27 0-1,-28-1-15,1 1 16,27 28 0,-27 0 15,-1-28-16,0 28 32,-28 28-15,0 0-32,28-28 15,-28 29 1,0-1-1,0 0 1,0 0 0,-28 1-1,28-1 48,0 0-32,57-28 0,-1 28-15,1-28 0,-29 0-1,29 0-15,-29 0 16,0 0-1,0 0 1,1 0 0,-1 0 46</inkml:trace>
  <inkml:trace contextRef="#ctx0" brushRef="#br0" timeOffset="90276.04">20354 4183 0,'0'28'78,"-57"-28"-15,1 0-47,-57-28-16,-57 0 15,-28-1 1,-84 1-1,168 0 1,-112 0 0,57-1-1,84 29 1,-28-28 15,-29 28-15,86 0-1,-114 0 1,29-28 0,56 28-1,-56-29 1,-57 1 0,170 28-1,-57 0 1,-28-28-1,85 28 1,-57 0 0,-28-28-1,84 28 1,-55 0 15,-1 0-15,56 0-1,-55 0 1,-1 0 0,57 0-1,-114 0 1,57 0 0,29 0-1,-29 28 1,57-28-1,0 28 1,-29-28 0,29 28-1,-1-28 17,1 0-17,0 29 1,0-1-1,-29 0 1,29 29 0,0-29-1,-57 57 1,85-57 0,-28 0-1,-1 29 1,1 28-1,0-29 17,28-27-32,-57 55 31,57-55-15,-28 55-1,28 1 1,-28-57-1,-1 57 1,1-28 0,28-1-1,0 29 1,0-28 0,-28-57-16,28 56 15,0 29 1,0-29-1,0 1 1,0 28 15,0-57-15,0 29 0,28-1-1,0 29 1,1-57 15,-1 0-15,0-28-16,29 29 31,-29-29-15,29 0-16,56 0 15,84 0 1,-27-57-1,-85 29 17,0 28-17,0-57 1,-29 57 0,57-56-1,-56 28 1,-1 28-16,1-29 15,56 1 1,-85 28 0,29 0-16,-29-28 15,28-1 1,-27 29 0,-1 0-1,29 0 1,-29-28 15,0 28-31,0 0 16,57 0-1,-57 0 1,29 0-16,-29 0 16,85 0-1,-28-28 1,85 28-1,-29 0 1,-84 0 0,27 0-1,1 0 1,-28 0 0,28 0-1,-1 28 16,-27-28-15,56 28 0,0 1-1,-56-1 1,27-28 0,1 0-1,-57 28 1,57 1-1,0-1 1,-28 0 0,112 0-1,-27-28 1,-58 29 0,58-1-1,-57 0 16,-57-28-15,85 0 0,0 28-1,-85-28 1,57 0 0,0 0-1,-29 0 1,114 0-1,0 0 1,-29 0 0,57 0-1,-85 0 1,-85-28 0,1 28 15,27 0-16,1-56 17,-1-1-17,29-28 1,28-56 0,-28 28-1,-57 56 1,0 57-16,-28-28 15,29 0 1,-29 0 0,0-57 15,0 28-15,0-56 15,0 28-16,-29 57 1,1-28 0,0 27-1,28-27 1,-57 28 0,1-57-1,-1 85 1,-28-57-1,-28 1 1,57 27 0,-29 29-1,28 0 1,29 0 15</inkml:trace>
  <inkml:trace contextRef="#ctx0" brushRef="#br0" timeOffset="134281.29">19704 13962 0,'-29'0'140,"-27"-28"-124,-1 0 0,29-1-1,-28 1-15,-1 0 16,-28-57-1,-28 57 17,85 0-17,-85-29 1,0 1 0,56 27-1,-28 29 1,-28-28-1,85 0 1,-85 28 0,28-29-1,0 29 1,1-28 0,-30 0-1,30 28 1,-86 0 15,-113 0-15,114 0-1,-29 0 1,28 0 0,57 0-1,-28 0 1,-1 28-1,29-28 1,-56 0 0,-29 0-1,113 0 1,-85 0 0,29 0-1,28 0 1,-57 0 15,1 0-15,141 0-1,-86 0 1,58 0 0,28 0-1,-1 0 1,1 0-1,0 0 32,28 28-15,-28-28-32,-1 29 15,29-1 16,0 0-15,0 29 0,0-29-1,0 0 1,29 57 0,-1-57-1,0 57 1,0-57-1,1 1 1,-29 27 0,28-27-1,0-1 1,0 28 0,57 1 15,-85-29-16,113 29 1,-56 27 0,-1-55-1,29 27 1,28-56 0,-84 28-1,140 1 1,114-29-1,-57 0 1,339 0 0,-225 0-1,-114 0-15,-57 0 16,86 0 15,-114 0-15,-56 0-1,0 0 1,0 0 0,-29 0-1,57 0 1,170 0 0,113-29-1,395-27 1,-452 28-1,-282 28 1,0 0 0,-29 0-1,0 0 32,0 28-31</inkml:trace>
  <inkml:trace contextRef="#ctx0" brushRef="#br0" timeOffset="139155.15">3392 15347 0,'57'28'172,"310"29"-157,170 28 1,-254-57-16,-141 0 16,-58 1-1,1-29 1,0 0-1,-29 0 1,227 0 0,169 0 15,-310-29-15,112 29-1,-112 0 1,-29 0-1,56 0 1,57 0 0,-141 0-1,113 0 1,-28 29 0,-142-29-1,29 0 1,27 0-1,-55 0 17,-1 28-17,0-28 17,-141 0 14,-339-57-30,-1273 29 0,1217 28-1,-199 28 1,368 1 0,254-1-1,-28 0 1,-29 0-1,114-28 1,-85 0 15,56 0-15,29 0 0,0 0 15,0 0-16,56 0 64,198-28-64,198 28-15,85 0 16,169 0-1,-536 0 17,197 0-17,0 0 1,-169 0 0,197 0-1,-27 57 1,-284-57-1,29 0 1,-57 0 0,0 0-1,1 0 1,-1 28 31,0-28 0,-56 0 46,0 0-46,-1 0-15,1 0 30,113 0 1,282-28-48,199-1-15,-142 29 16,-141 0-1,-29 0 1,-113 0 0,-112 0-1,-1 0 1,0 0 15,0 0-15,1 0-1,-1 0 1,0 0 15,-56-28 47,0 28-62,-198 0 0,-198 0-16,-85 57 15,-170-1 1,566-56 0,28 28-1,57-28 1,-57 29-1,57-29 1,0 0 15,56 0 172</inkml:trace>
  <inkml:trace contextRef="#ctx0" brushRef="#br0" timeOffset="146278.47">18573 15262 0,'28'29'172,"29"-29"-156,56 28-1,0 0-15,-57-28 16,142 57 15,-113-29-15,-28-28-1,27 28 1,30 1 0,-86-29-1,170 56 1,-29-28 0,-84-28-1,28 29 1,-28-29-1,-28 0 1,27 28 0,1-28-1,-57 0 17,29 28-32,-29-28 15,85 0 1,-84 0-1,55 0 1,1 0 0,-56 0-1,112 0 1,0 0 0,-56 0-1,56 0 1,-28 0-1,-56 0 1,28 0 0,28 0 15,-28 0-15,56-28-1,-56 28 1,-57-28-1,57 28 1,-57 0 0,-28-29-1,57 29 1,-29 0 0,0 0-1,1-28 1,-1 28-1,0-28 1,29 0 15,27-1-15,-27 1 0,-1 0-1,-27 28 1,-1 0-1,0-29 1,-28 1 0,29 0-1,-1 28 1,0-28 0,-28-1-1,0 1 1,28-28-1,-28-1 32,0 1-31,0 27 0,0-27-1,0-1 1,0 1-1,0 27 1,0-27 0,0 28-1,0-57 1,0 57 0,0-1-16,0-27 31,-28 56-16,28-28 1,-28-1 0,0 1-1,28-29 1,-57 29 0,-28-28-1,-84-29 1,56 57-1,-255-29 1,142 29 0,169 28-1,-141 0 1,29 0 0,84 0-1,-56 0 16,28 28-15,84 0 0,-84-28-1,0 0 1,57 29 0,-114-29-1,57 0 1,-28 0-1,56 0 1,28 28 0,-56-28-1,28 0 1,29 0 0,-114 28-1,57 0 16,28-28-15,57 0 0,-29 0-1,29 0 1,-28 0 0,27 0-1,1 0 1,0 0-16,28 29 15,-57-29 1,29 0 0,-28 0-1,-1 28 1,0-28 0,1 0 15,-1 0-16,29 0 1,0 0 0,0 28-1,-1-28 1,1 0 0,-29 28-1,29-28 1,-28 29-1,-1 27 1,1 1 0,-1-29-1,29 29 1,0-57 15,28 56-15,-29 1-1,29-29 1,0 85 0,0-57-1,0-27 1,0-1 15,0 0-15</inkml:trace>
  <inkml:trace contextRef="#ctx0" brushRef="#br0" timeOffset="148481.07">24425 15262 0,'-29'0'109,"1"0"-62,0 29-31,0-29-16,-1 0 15,1 0 1,0 0-1,0 0 1,-1 0 0,1 0 15,169 0 63,57 0-94,-56 0 15,-29 0 1,-57 0 0,86 0-1,-114 0 1,0 0-1,0 0 1,1 0 15,-58 0 47,1 0-62,-28 0 0,27 0-1,-56 0 1,57 0 0,0 0-1,0 0 32,28 28 94,28-28-110</inkml:trace>
  <inkml:trace contextRef="#ctx0" brushRef="#br0" timeOffset="182207.51">1498 16167 0,'0'28'141,"0"0"-94,0 1-32,0-1 16,0 0 1,0 0-1,0 1-15,0-1-16,0 0 15,0 0 32,0 1-31,0-1 46,0 0 1</inkml:trace>
  <inkml:trace contextRef="#ctx0" brushRef="#br0" timeOffset="191017.93">10488 16308 0,'-28'0'109,"-1"0"-46,29-28-63,-28 28 16,-28-57-1,-29-27 1,-85-86-1,-56 0-15,85 57 16,-86 0 0,171 57-1,-29 28-15,0-1 16,-84-27 0,-29 27 15,113 29-16,-56-28 1,56 28 0,0 0-16,-113 0 15,-169 0 1,-114 28 0,340-28-1,-85 29 1,113-29-1,-85 0 1,0 56 0,-113 1-1,141-1 1,1-27 15,112-1-15,-28 0-1,-28-28 1,85 28 0,-29-28-16,1 29 15,-57-29 1,84 28 0,-55-28-1,-29 0 1,28 0-1,-28 0-15,28 0 16,-141 0 0,141 0-1,-85 0 1,57 0 15,28 0-15,1 0-1,-1 0 1,28 0 0,-28 0-1,-28 0 1,29 0 0,-30 0-1,-27-28 1,113 28-1,-57 0 1,-56-29 0,112 29-1,-84-28 17,29 28-17,27 0 1,-28-28-1,29 0 1,-1-1 0,1 1-1,-29 0 1,28 28 0,1 0-1,-57-28 1,84 28-1,-55-29 1,-30 29 0,58 0 31,28 0-32,-29 0 1,29 0-1,-29 0 1,29 0 0,-28 0-1,-86 29 1,86-1 0,-1 0-1,29 0 1,0-28-1,-1 29 1,-27-1 0,56 0 15,-29 0-15,1 1-1,0-1 1,0 0-1,-1 29 1,29-29 0,-28-28-1,0 56 1,28-27 15,0 27-15,0-27-16,-28 27 15,28 85 1,0-28 15,0-84-15,0 27 0,0 1-1,0-1-15,28 29 31,57 85-15,-57-114 0,0 29-1,29-29 1,-29 1 0,29 0-1,84 84 1,-85-85-1,114 29 17,-29-28-17,-56-57 1,170 85 0,112-57-1,-226-28 1,142 0-1,-28 0 1,-114 0 0,255-28-1,169-1 1,-226 1 0,170 0-1,-141-57 1,-227 57-1,170-1 17,-141 1-17,-57 28 1,56-28 0,-140 28-1,27 0-15,1 0 16,112-28-1,-84 28 1,-28 0 0,27 0-1,29 0 1,-28 0 0,57 0-1,-58 0 16,1 0-15,-28 0 0,56 28-1,-28-28 17,-29 28-17,-28-28 1,86 57-1,55-29 1,-84 0 0,113 29-1,-57-1 1,-84-56 0,28 29-1,-29-1 16,1 0-31,-29-28 16,57 0 0,28 28-1,-28 1 1,56-1 0,-85-28-1,-27 0-15,27 28 16,29-28-1,-57 0 1,1 0-16,27 28 16,29-28-1,0 0 1,0 0 0,56 0 15,-56 0-16,28 0 1,28-28 0,-113 0-1,114 0 1,-86-1 0,1 29-1,-29-28 1,0 0-1,29 0 1,-29-57 0,29 28-1,-57 1 1,28-1 15,0 1-15,1 27-1,-29 1 1,0-28 0,0 27-1,0-27 1,0 27 0,-29 1-1,29 0 1,0-29-1,-28 57 1,0-56 0,0 28-1,28-29 17,-29 1-17,-27-1 1,56 29-1,-57-29 1,29-28 0,0 57-1,-29-28 1,29 56 0,28-29-1,-28-27 1,-1 56-1,1-28 1,0-1 0,-29 29 15,29 0-15,-29-56-1,1 56 1,28-28-1,-29 28 17,29-29-1,0 29 0,-1 0-15</inkml:trace>
  <inkml:trace contextRef="#ctx0" brushRef="#br0" timeOffset="194282.79">10601 16732 0,'0'-28'172,"28"28"-156,1 0-1,-1-28 1,85-29-16,57 1 31,27-29-31,-84 56 16,114 1-1,-86 0 1,-28 28 0,28 0-1,1 0 1,-29 0-1,28 0 1,-56 0 0,-57 28-1,85-28 1,-84 28 0,55 1-16,29-29 15,57 56 16,28-27-15,0-1-16,-29 0 16,171 29-1,-255-29 1,56 28 0,-113-56-1,0 0 1,1 29-1,-1-29 1,0 0 0,57 0-1,85 0 1,56 0 0,396-113 15,-283 56-16,-254 29 1,-29 28 0,1-28-1,-29 28 1,29 0 0,-29 0-1,0-29 1,57 29-1,-28 0 1,-29 0 15,28 0-15,-27 0 0,-1 0 30,0 0-46,0 0 16,1 0 0,-1-28-1,0 28 1,29 0 0,-29 0-1,0 0 1,1 0 15,-1 0-15,0 0 15,0 0-15,1 0-1,-1 0 1,0 0-1,0 0 32,1 0-31,-1 0 0,0 0 15,1 0 0,-58 0 47,1-28-62,-29 28-1,-56-57-15,0 29 16,28 0 0,-56-57-1,85 85 1,-29-28 0,0-1-1,57 1 1,-1 28-1,1-28 17,85 28 77,-1 0-93,1 28-16,-1 0 15,-27-28 1,-1 0 0,0 29-1,0-29 1,1 0-1,-1 28 1,28-28 0,-27 28 15,27-28-15,-27 0-1,-1 0 1,-28 28-1,28-28 1,-28 29 0,28-29 15,-28 28-15,0 0 46,0 29-31,-28-29-15,0 0 0,0 1-1,-57 55 1,28-55-1,29-1 1,0 28 0,-1-56-1,1 0 1,28 29 0,-28-29-1,28 28 16,-28-28 1,-1 28 15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051F04-9E25-42C3-8BC5-EC2E8469D95E}" type="datetimeFigureOut">
              <a:rPr lang="en-US" smtClean="0"/>
              <a:pPr/>
              <a:t>11/3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D6722-9B4D-4E29-B226-C325925A81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59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268275-7584-4AF9-B615-E17C727AFB1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4577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268275-7584-4AF9-B615-E17C727AFB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4577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268275-7584-4AF9-B615-E17C727AFB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304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268275-7584-4AF9-B615-E17C727AFB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4222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268275-7584-4AF9-B615-E17C727AFB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808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white">
          <a:xfrm>
            <a:off x="0" y="3810000"/>
            <a:ext cx="12192000" cy="304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2"/>
              </a:gs>
              <a:gs pos="83000">
                <a:schemeClr val="bg2">
                  <a:lumMod val="75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762001"/>
            <a:ext cx="10363200" cy="2838451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583" y="3962400"/>
            <a:ext cx="10392835" cy="1752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672A3D-B033-D330-3C21-B6F75ECE23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552" y="143892"/>
            <a:ext cx="3718882" cy="8961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EAF99C-05FC-B681-F56F-2F3C8C3C7E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>
            <a:off x="8546587" y="143892"/>
            <a:ext cx="3475861" cy="9019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87980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447801"/>
            <a:ext cx="10363200" cy="2152651"/>
          </a:xfrm>
        </p:spPr>
        <p:txBody>
          <a:bodyPr anchor="b">
            <a:noAutofit/>
          </a:bodyPr>
          <a:lstStyle>
            <a:lvl1pPr algn="l">
              <a:defRPr sz="3400" b="1" i="0" cap="none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9583" y="3962400"/>
            <a:ext cx="10392836" cy="17526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10740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704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621500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447617" y="113072"/>
            <a:ext cx="2844800" cy="18288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12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06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30EC07-2335-A00E-EA90-3C8600EA2645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1F331D-61F2-595D-0F3B-C2FD97CCEF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B761F97-E9CB-2842-716A-CDC13A63EBE1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5BCB36-BAF3-658D-6EEA-4E264D317C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11136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aseline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438402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03876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3657601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4648200"/>
            <a:ext cx="10972800" cy="5073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" y="5334000"/>
            <a:ext cx="10972800" cy="5334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2281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816430"/>
            <a:ext cx="10972800" cy="4789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edition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705600" y="1600202"/>
            <a:ext cx="4876800" cy="1600199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3000" baseline="0"/>
            </a:lvl1pPr>
            <a:lvl2pPr marL="0" indent="0">
              <a:spcBef>
                <a:spcPts val="0"/>
              </a:spcBef>
              <a:buNone/>
              <a:defRPr sz="4400"/>
            </a:lvl2pPr>
            <a:lvl3pPr marL="0" indent="0">
              <a:spcBef>
                <a:spcPts val="0"/>
              </a:spcBef>
              <a:buNone/>
              <a:defRPr sz="4400"/>
            </a:lvl3pPr>
            <a:lvl4pPr marL="0" indent="0">
              <a:spcBef>
                <a:spcPts val="0"/>
              </a:spcBef>
              <a:buNone/>
              <a:defRPr sz="4400"/>
            </a:lvl4pPr>
            <a:lvl5pPr marL="0" indent="0">
              <a:spcBef>
                <a:spcPts val="0"/>
              </a:spcBef>
              <a:buNone/>
              <a:defRPr sz="4400"/>
            </a:lvl5pPr>
            <a:lvl6pPr marL="0" indent="0">
              <a:spcBef>
                <a:spcPts val="0"/>
              </a:spcBef>
              <a:buNone/>
              <a:defRPr sz="4400"/>
            </a:lvl6pPr>
            <a:lvl7pPr marL="0" indent="0">
              <a:spcBef>
                <a:spcPts val="0"/>
              </a:spcBef>
              <a:buNone/>
              <a:defRPr sz="4400"/>
            </a:lvl7pPr>
            <a:lvl8pPr marL="0" indent="0">
              <a:spcBef>
                <a:spcPts val="0"/>
              </a:spcBef>
              <a:buNone/>
              <a:defRPr sz="4400"/>
            </a:lvl8pPr>
            <a:lvl9pPr marL="0" indent="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 dirty="0"/>
              <a:t>Chapter ##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705600" y="3200401"/>
            <a:ext cx="4876800" cy="29257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 dirty="0"/>
              <a:t>Chapter titl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4212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062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earning Objectiv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Learning Objectives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92494" y="1124956"/>
            <a:ext cx="10972800" cy="4027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Learning Objective(s)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01409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246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7FA3"/>
              </a:buClr>
              <a:buSzPct val="100000"/>
              <a:defRPr sz="2800" b="0"/>
            </a:lvl1pPr>
            <a:lvl2pPr>
              <a:buClr>
                <a:srgbClr val="007FA3"/>
              </a:buClr>
              <a:defRPr/>
            </a:lvl2pPr>
            <a:lvl3pPr>
              <a:buClr>
                <a:srgbClr val="007FA3"/>
              </a:buClr>
              <a:defRPr/>
            </a:lvl3pPr>
            <a:lvl4pPr>
              <a:buClr>
                <a:srgbClr val="007FA3"/>
              </a:buClr>
              <a:defRPr/>
            </a:lvl4pPr>
            <a:lvl5pPr>
              <a:buClr>
                <a:srgbClr val="007FA3"/>
              </a:buClr>
              <a:defRPr/>
            </a:lvl5pPr>
            <a:lvl6pPr>
              <a:buClr>
                <a:srgbClr val="007FA3"/>
              </a:buClr>
              <a:defRPr/>
            </a:lvl6pPr>
            <a:lvl7pPr>
              <a:buClr>
                <a:srgbClr val="007FA3"/>
              </a:buClr>
              <a:defRPr/>
            </a:lvl7pPr>
            <a:lvl8pPr>
              <a:buClr>
                <a:srgbClr val="007FA3"/>
              </a:buClr>
              <a:defRPr/>
            </a:lvl8pPr>
            <a:lvl9pPr>
              <a:buClr>
                <a:srgbClr val="007FA3"/>
              </a:buCl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0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i="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1295400"/>
          </a:xfrm>
        </p:spPr>
        <p:txBody>
          <a:bodyPr/>
          <a:lstStyle>
            <a:lvl1pPr marL="118872" indent="-118872">
              <a:buClr>
                <a:srgbClr val="007FA3"/>
              </a:buClr>
              <a:buSzPct val="25000"/>
              <a:defRPr sz="1600"/>
            </a:lvl1pPr>
            <a:lvl2pPr marL="569913" indent="-285750">
              <a:buClr>
                <a:srgbClr val="007FA3"/>
              </a:buClr>
              <a:defRPr sz="1600"/>
            </a:lvl2pPr>
            <a:lvl3pPr>
              <a:buClr>
                <a:srgbClr val="007FA3"/>
              </a:buClr>
              <a:defRPr sz="1600"/>
            </a:lvl3pPr>
            <a:lvl4pPr>
              <a:buClr>
                <a:srgbClr val="007FA3"/>
              </a:buClr>
              <a:defRPr sz="1600"/>
            </a:lvl4pPr>
            <a:lvl5pPr>
              <a:buClr>
                <a:srgbClr val="007FA3"/>
              </a:buClr>
              <a:defRPr sz="1600"/>
            </a:lvl5pPr>
            <a:lvl6pPr>
              <a:buClr>
                <a:srgbClr val="007FA3"/>
              </a:buClr>
              <a:defRPr sz="1600"/>
            </a:lvl6pPr>
            <a:lvl7pPr>
              <a:buClr>
                <a:srgbClr val="007FA3"/>
              </a:buClr>
              <a:defRPr sz="1600"/>
            </a:lvl7pPr>
            <a:lvl8pPr>
              <a:buClr>
                <a:srgbClr val="007FA3"/>
              </a:buClr>
              <a:defRPr sz="1600"/>
            </a:lvl8pPr>
            <a:lvl9pPr>
              <a:buClr>
                <a:srgbClr val="007FA3"/>
              </a:buCl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609600" y="3124200"/>
            <a:ext cx="10972800" cy="2743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200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gur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09600" y="228600"/>
            <a:ext cx="10972800" cy="1066800"/>
          </a:xfrm>
        </p:spPr>
        <p:txBody>
          <a:bodyPr anchor="t"/>
          <a:lstStyle>
            <a:lvl1pPr>
              <a:defRPr sz="3400" b="1" i="0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add figure number and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368160"/>
            <a:ext cx="10972800" cy="916856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  <a:lvl6pPr marL="0" indent="0">
              <a:spcBef>
                <a:spcPts val="0"/>
              </a:spcBef>
              <a:buNone/>
              <a:defRPr sz="1600"/>
            </a:lvl6pPr>
            <a:lvl7pPr marL="0" indent="0">
              <a:spcBef>
                <a:spcPts val="0"/>
              </a:spcBef>
              <a:buNone/>
              <a:defRPr sz="1600"/>
            </a:lvl7pPr>
            <a:lvl8pPr marL="0" indent="0">
              <a:spcBef>
                <a:spcPts val="0"/>
              </a:spcBef>
              <a:buNone/>
              <a:defRPr sz="1600"/>
            </a:lvl8pPr>
            <a:lvl9pPr marL="0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4E148D-A0A4-317A-F8C2-A182BF063633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561D8-0188-7C13-6FAC-BB31FC696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6D6040-0697-6311-60E2-1B6D6FD6EB49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06703BA-0E68-73C9-AFE4-48C8D9E48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0379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68932"/>
            <a:ext cx="10972800" cy="83422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743201"/>
            <a:ext cx="10972800" cy="98587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8069" y="4114801"/>
            <a:ext cx="10972800" cy="10927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79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600200"/>
            <a:ext cx="10972800" cy="68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09600" y="2514600"/>
            <a:ext cx="10972800" cy="60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/>
          </p:nvPr>
        </p:nvSpPr>
        <p:spPr>
          <a:xfrm>
            <a:off x="609600" y="3352800"/>
            <a:ext cx="10972800" cy="7708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6"/>
          </p:nvPr>
        </p:nvSpPr>
        <p:spPr>
          <a:xfrm>
            <a:off x="609600" y="4419600"/>
            <a:ext cx="10972800" cy="76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7"/>
          </p:nvPr>
        </p:nvSpPr>
        <p:spPr>
          <a:xfrm>
            <a:off x="609601" y="5343526"/>
            <a:ext cx="11018292" cy="7524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3014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3564150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661" y="6620070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2497350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5105400"/>
            <a:ext cx="10972800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9140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FE6B61-320F-E0FF-6D87-A517953A8D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253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7" imgW="444" imgH="443" progId="TCLayout.ActiveDocument.1">
                  <p:embed/>
                </p:oleObj>
              </mc:Choice>
              <mc:Fallback>
                <p:oleObj name="think-cell Slide" r:id="rId17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9902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458921"/>
            <a:ext cx="9372600" cy="3674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6133D-D5BC-C5E4-BCB5-A0BE6F256B1C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27212F-ECC5-F8A1-A5D6-BD290599FB54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31D2D3-9114-DE88-64B6-66B72405A3E4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3957862-7C7E-4D88-A65E-00B629C72F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30000" y="6458921"/>
            <a:ext cx="735711" cy="275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570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0" r:id="rId4"/>
    <p:sldLayoutId id="2147483659" r:id="rId5"/>
    <p:sldLayoutId id="2147483658" r:id="rId6"/>
    <p:sldLayoutId id="2147483660" r:id="rId7"/>
    <p:sldLayoutId id="2147483661" r:id="rId8"/>
    <p:sldLayoutId id="2147483662" r:id="rId9"/>
    <p:sldLayoutId id="2147483651" r:id="rId10"/>
    <p:sldLayoutId id="2147483654" r:id="rId11"/>
    <p:sldLayoutId id="2147483655" r:id="rId12"/>
    <p:sldLayoutId id="2147483664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400" b="1" kern="1200">
          <a:solidFill>
            <a:srgbClr val="007FA3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256032" indent="-256032" algn="l" defTabSz="914400" rtl="0" eaLnBrk="1" latinLnBrk="0" hangingPunct="1">
        <a:spcBef>
          <a:spcPts val="15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600"/>
        </a:spcBef>
        <a:buClr>
          <a:srgbClr val="007FA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3.emf"/><Relationship Id="rId4" Type="http://schemas.openxmlformats.org/officeDocument/2006/relationships/customXml" Target="../ink/ink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customXml" Target="../ink/ink5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customXml" Target="../ink/ink6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customXml" Target="../ink/ink7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customXml" Target="../ink/ink8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customXml" Target="../ink/ink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emf"/><Relationship Id="rId4" Type="http://schemas.openxmlformats.org/officeDocument/2006/relationships/customXml" Target="../ink/ink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emf"/><Relationship Id="rId4" Type="http://schemas.openxmlformats.org/officeDocument/2006/relationships/customXml" Target="../ink/ink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ustomXml" Target="../ink/ink3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86D7C9-5B04-8474-B951-DAD11EC2D2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CND111: Introduction to Digital Desig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12649A-59CC-F29E-BCDA-DA24E4E22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59AAC24-DEA2-5D21-F6EC-5B39705F2FDC}"/>
              </a:ext>
            </a:extLst>
          </p:cNvPr>
          <p:cNvSpPr txBox="1">
            <a:spLocks/>
          </p:cNvSpPr>
          <p:nvPr/>
        </p:nvSpPr>
        <p:spPr>
          <a:xfrm>
            <a:off x="22683" y="4355150"/>
            <a:ext cx="12192000" cy="828831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b="1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Getting Started in Verilog – Part 5</a:t>
            </a:r>
            <a:endParaRPr lang="ar-EG" sz="4400" b="1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1116469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18EBAAE-798C-65F2-0A6D-ADD543D9A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unters: Binary Counte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3591B8-37E8-64D4-099C-AD827E78B5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8" name="Picture 7" descr="A picture containing table&#10;&#10;Description automatically generated">
            <a:extLst>
              <a:ext uri="{FF2B5EF4-FFF2-40B4-BE49-F238E27FC236}">
                <a16:creationId xmlns:a16="http://schemas.microsoft.com/office/drawing/2014/main" id="{389A3CD4-BD20-FBB3-CF12-A4B1B6EFBE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461" b="8295"/>
          <a:stretch/>
        </p:blipFill>
        <p:spPr bwMode="auto">
          <a:xfrm>
            <a:off x="514083" y="3962395"/>
            <a:ext cx="5104197" cy="16764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4499693-B824-2D81-E032-854F35E97E32}"/>
              </a:ext>
            </a:extLst>
          </p:cNvPr>
          <p:cNvGraphicFramePr>
            <a:graphicFrameLocks noGrp="1"/>
          </p:cNvGraphicFramePr>
          <p:nvPr/>
        </p:nvGraphicFramePr>
        <p:xfrm>
          <a:off x="6172200" y="3265726"/>
          <a:ext cx="4635433" cy="3352800"/>
        </p:xfrm>
        <a:graphic>
          <a:graphicData uri="http://schemas.openxmlformats.org/drawingml/2006/table">
            <a:tbl>
              <a:tblPr firstRow="1" firstCol="1" bandRow="1"/>
              <a:tblGrid>
                <a:gridCol w="4635433">
                  <a:extLst>
                    <a:ext uri="{9D8B030D-6E8A-4147-A177-3AD203B41FA5}">
                      <a16:colId xmlns:a16="http://schemas.microsoft.com/office/drawing/2014/main" val="42830892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odule </a:t>
                      </a:r>
                      <a:r>
                        <a:rPr lang="en-US" sz="2000" kern="1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untbin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sz="2000" kern="1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lk,rstn,count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);</a:t>
                      </a: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input </a:t>
                      </a:r>
                      <a:r>
                        <a:rPr lang="en-US" sz="2000" kern="1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lk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2000" kern="1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stn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;</a:t>
                      </a: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output reg 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3:0] count;</a:t>
                      </a: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lways 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@ (</a:t>
                      </a:r>
                      <a:r>
                        <a:rPr lang="en-US" sz="2000" kern="100" dirty="0" err="1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osedge</a:t>
                      </a: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kern="1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lk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r </a:t>
                      </a:r>
                      <a:r>
                        <a:rPr lang="en-US" sz="2000" kern="100" dirty="0" err="1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egedge</a:t>
                      </a: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kern="1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stn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) </a:t>
                      </a:r>
                    </a:p>
                    <a:p>
                      <a:pPr marL="100965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egin</a:t>
                      </a:r>
                      <a:endParaRPr lang="en-US" sz="2000" kern="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215265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f 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!</a:t>
                      </a:r>
                      <a:r>
                        <a:rPr lang="en-US" sz="2000" kern="1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stn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215265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unt &lt;= 4'b0;</a:t>
                      </a:r>
                    </a:p>
                    <a:p>
                      <a:pPr marL="215265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lse</a:t>
                      </a:r>
                      <a:endParaRPr lang="en-US" sz="2000" kern="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215265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unt &lt;= count + 1;</a:t>
                      </a:r>
                    </a:p>
                    <a:p>
                      <a:pPr marL="100965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d</a:t>
                      </a:r>
                      <a:endParaRPr lang="en-US" sz="2000" kern="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 err="1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dmodule</a:t>
                      </a:r>
                      <a:endParaRPr lang="en-US" sz="2000" kern="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3499051"/>
                  </a:ext>
                </a:extLst>
              </a:tr>
            </a:tbl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13C20142-A3BA-9D75-7D40-C1AB434AA6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987" y="1447800"/>
            <a:ext cx="11119947" cy="1134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203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CCE483-C2C3-5E8C-99C6-688135ABB7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SO (Parallel In Serial Out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6F30E9-6AD9-5DB5-2AB4-968C30FE78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1026" name="Picture 2" descr="Verilog code for Shift Register PISO, SIPO, PIPO">
            <a:extLst>
              <a:ext uri="{FF2B5EF4-FFF2-40B4-BE49-F238E27FC236}">
                <a16:creationId xmlns:a16="http://schemas.microsoft.com/office/drawing/2014/main" id="{470B5B29-40ED-6D61-59DC-A8E572ED119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4443" y="1393822"/>
            <a:ext cx="2887442" cy="157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ISO Shift Register Circuit">
            <a:extLst>
              <a:ext uri="{FF2B5EF4-FFF2-40B4-BE49-F238E27FC236}">
                <a16:creationId xmlns:a16="http://schemas.microsoft.com/office/drawing/2014/main" id="{CED97CFE-EBF5-D855-EBC2-A645101912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505"/>
          <a:stretch/>
        </p:blipFill>
        <p:spPr bwMode="auto">
          <a:xfrm>
            <a:off x="6166510" y="3352800"/>
            <a:ext cx="5187290" cy="2694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AB2389D-E3CC-CD9D-9C9D-F43E9C39A548}"/>
              </a:ext>
            </a:extLst>
          </p:cNvPr>
          <p:cNvSpPr txBox="1"/>
          <p:nvPr/>
        </p:nvSpPr>
        <p:spPr>
          <a:xfrm>
            <a:off x="533400" y="1295400"/>
            <a:ext cx="549209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The shift register which uses parallel input and generates serial output is known as the parallel input serial output shift register or PISO shift register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This shift register works in a reverse way to the SIPO shift register. In this type of shift register, the input data enters a parallel way and comes out serially.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8448B82B-A0E0-4117-B9A4-07A87FD7AC67}"/>
                  </a:ext>
                </a:extLst>
              </p14:cNvPr>
              <p14:cNvContentPartPr/>
              <p14:nvPr/>
            </p14:nvContentPartPr>
            <p14:xfrm>
              <a:off x="356040" y="60840"/>
              <a:ext cx="10065600" cy="6075000"/>
            </p14:xfrm>
          </p:contentPart>
        </mc:Choice>
        <mc:Fallback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8448B82B-A0E0-4117-B9A4-07A87FD7AC67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46680" y="51480"/>
                <a:ext cx="10084320" cy="60937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729044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19493-B1CC-F633-B04A-A771E19A4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ing Memories from fi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BCCB35-9E56-29D6-503B-6AD4EE6FEB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4"/>
            <a:ext cx="6172200" cy="5486395"/>
          </a:xfrm>
        </p:spPr>
        <p:txBody>
          <a:bodyPr/>
          <a:lstStyle/>
          <a:p>
            <a:r>
              <a:rPr lang="en-US" sz="2400" dirty="0"/>
              <a:t> Two-dimensional arrays can be declared and accessed by word. </a:t>
            </a:r>
          </a:p>
          <a:p>
            <a:r>
              <a:rPr lang="en-US" sz="2400" dirty="0"/>
              <a:t>To get a bit(s), you must equate the output to a register or wire and select the bits from this new variable.</a:t>
            </a:r>
          </a:p>
          <a:p>
            <a:r>
              <a:rPr lang="en-US" sz="2400" dirty="0"/>
              <a:t>The data file consists of addresses and data. </a:t>
            </a:r>
          </a:p>
          <a:p>
            <a:r>
              <a:rPr lang="en-US" sz="2400" dirty="0"/>
              <a:t>The command $</a:t>
            </a:r>
            <a:r>
              <a:rPr lang="en-US" sz="2400" dirty="0" err="1"/>
              <a:t>readmemb</a:t>
            </a:r>
            <a:r>
              <a:rPr lang="en-US" sz="2400" dirty="0"/>
              <a:t>/$</a:t>
            </a:r>
            <a:r>
              <a:rPr lang="en-US" sz="2400" dirty="0" err="1"/>
              <a:t>readmemh</a:t>
            </a:r>
            <a:r>
              <a:rPr lang="en-US" sz="2400" dirty="0"/>
              <a:t> will read a file of binary/hex numbers into the array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50BE07-459C-81BD-0960-9011E3CF2B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01544E5-D9D7-96B7-C032-3EB7691E83B6}"/>
              </a:ext>
            </a:extLst>
          </p:cNvPr>
          <p:cNvSpPr txBox="1"/>
          <p:nvPr/>
        </p:nvSpPr>
        <p:spPr>
          <a:xfrm>
            <a:off x="7086600" y="1393459"/>
            <a:ext cx="4343400" cy="295106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reg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[wordsize:0] array [0:arraysize]</a:t>
            </a:r>
          </a:p>
          <a:p>
            <a:pPr algn="l">
              <a:lnSpc>
                <a:spcPct val="150000"/>
              </a:lnSpc>
            </a:pPr>
            <a:r>
              <a:rPr lang="en-US" sz="1800" b="1" i="0" u="none" strike="noStrike" baseline="0" dirty="0" err="1">
                <a:latin typeface="Times New Roman" panose="02020603050405020304" pitchFamily="18" charset="0"/>
              </a:rPr>
              <a:t>readmemb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(“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file_name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”,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array_name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);</a:t>
            </a:r>
          </a:p>
          <a:p>
            <a:pPr algn="l">
              <a:lnSpc>
                <a:spcPct val="150000"/>
              </a:lnSpc>
            </a:pPr>
            <a:r>
              <a:rPr lang="en-US" sz="1800" b="1" i="0" u="none" strike="noStrike" baseline="0" dirty="0" err="1">
                <a:latin typeface="Times New Roman" panose="02020603050405020304" pitchFamily="18" charset="0"/>
              </a:rPr>
              <a:t>readmemb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(“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file_name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”,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array_name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,</a:t>
            </a:r>
          </a:p>
          <a:p>
            <a:pPr algn="l">
              <a:lnSpc>
                <a:spcPct val="150000"/>
              </a:lnSpc>
            </a:pP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start_addr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,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finish_addrs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);</a:t>
            </a:r>
          </a:p>
          <a:p>
            <a:pPr algn="l">
              <a:lnSpc>
                <a:spcPct val="150000"/>
              </a:lnSpc>
            </a:pPr>
            <a:r>
              <a:rPr lang="en-US" sz="1800" b="1" i="0" u="none" strike="noStrike" baseline="0" dirty="0" err="1">
                <a:latin typeface="Times New Roman" panose="02020603050405020304" pitchFamily="18" charset="0"/>
              </a:rPr>
              <a:t>readmemh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(“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file_name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”,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array_name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);</a:t>
            </a:r>
          </a:p>
          <a:p>
            <a:pPr algn="l">
              <a:lnSpc>
                <a:spcPct val="150000"/>
              </a:lnSpc>
            </a:pPr>
            <a:r>
              <a:rPr lang="en-US" sz="1800" b="1" i="0" u="none" strike="noStrike" baseline="0" dirty="0">
                <a:solidFill>
                  <a:schemeClr val="accent5"/>
                </a:solidFill>
                <a:latin typeface="Times New Roman" panose="02020603050405020304" pitchFamily="18" charset="0"/>
              </a:rPr>
              <a:t>// </a:t>
            </a:r>
            <a:r>
              <a:rPr lang="en-US" sz="1800" b="0" i="1" u="none" strike="noStrike" baseline="0" dirty="0" err="1">
                <a:solidFill>
                  <a:schemeClr val="accent5"/>
                </a:solidFill>
                <a:latin typeface="Times New Roman" panose="02020603050405020304" pitchFamily="18" charset="0"/>
              </a:rPr>
              <a:t>start_addr</a:t>
            </a:r>
            <a:r>
              <a:rPr lang="en-US" sz="1800" b="0" i="1" u="none" strike="noStrike" baseline="0" dirty="0">
                <a:solidFill>
                  <a:schemeClr val="accent5"/>
                </a:solidFill>
                <a:latin typeface="Times New Roman" panose="02020603050405020304" pitchFamily="18" charset="0"/>
              </a:rPr>
              <a:t> and finish </a:t>
            </a:r>
            <a:r>
              <a:rPr lang="en-US" sz="1800" b="0" i="1" u="none" strike="noStrike" baseline="0" dirty="0" err="1">
                <a:solidFill>
                  <a:schemeClr val="accent5"/>
                </a:solidFill>
                <a:latin typeface="Times New Roman" panose="02020603050405020304" pitchFamily="18" charset="0"/>
              </a:rPr>
              <a:t>addr</a:t>
            </a:r>
            <a:r>
              <a:rPr lang="en-US" sz="1800" b="0" i="1" u="none" strike="noStrike" baseline="0" dirty="0">
                <a:solidFill>
                  <a:schemeClr val="accent5"/>
                </a:solidFill>
                <a:latin typeface="Times New Roman" panose="02020603050405020304" pitchFamily="18" charset="0"/>
              </a:rPr>
              <a:t> are optional</a:t>
            </a:r>
          </a:p>
          <a:p>
            <a:pPr algn="l">
              <a:lnSpc>
                <a:spcPct val="150000"/>
              </a:lnSpc>
            </a:pPr>
            <a:endParaRPr lang="en-US" i="1" dirty="0">
              <a:solidFill>
                <a:schemeClr val="accent5"/>
              </a:solidFill>
              <a:latin typeface="Times New Roman" panose="02020603050405020304" pitchFamily="18" charset="0"/>
            </a:endParaRP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86E64FE9-A0D2-4FBE-8ACB-2F87EC12727A}"/>
                  </a:ext>
                </a:extLst>
              </p14:cNvPr>
              <p14:cNvContentPartPr/>
              <p14:nvPr/>
            </p14:nvContentPartPr>
            <p14:xfrm>
              <a:off x="1506240" y="60840"/>
              <a:ext cx="10116360" cy="6736320"/>
            </p14:xfrm>
          </p:contentPart>
        </mc:Choice>
        <mc:Fallback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86E64FE9-A0D2-4FBE-8ACB-2F87EC12727A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496880" y="51480"/>
                <a:ext cx="10135080" cy="67550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770567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34382-E778-C0B4-2CB6-3BAB8F50F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 Only Memory (ROM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C626E9-B4C1-1A44-DFC7-93A6533C80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5791200" cy="4906960"/>
          </a:xfrm>
        </p:spPr>
        <p:txBody>
          <a:bodyPr/>
          <a:lstStyle/>
          <a:p>
            <a:r>
              <a:rPr lang="en-US" sz="2400" dirty="0"/>
              <a:t>A read-only memory (ROM) is an array of inputs and b outputs. (size = 2^n x b)</a:t>
            </a:r>
          </a:p>
          <a:p>
            <a:r>
              <a:rPr lang="en-US" sz="2400" dirty="0"/>
              <a:t>The inputs are called address inputs while the outputs are called data outputs.</a:t>
            </a:r>
          </a:p>
          <a:p>
            <a:r>
              <a:rPr lang="en-US" sz="2400" b="1" dirty="0"/>
              <a:t>The contents of the ROM must be initialized.</a:t>
            </a:r>
          </a:p>
          <a:p>
            <a:r>
              <a:rPr lang="en-US" sz="2400" b="1" dirty="0"/>
              <a:t>Small ROMs can be initialized using a case statement.</a:t>
            </a: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5B7764-F449-250F-31A3-9C9013F54A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571DFC8-1AAE-8009-F698-D6BC540D6D47}"/>
              </a:ext>
            </a:extLst>
          </p:cNvPr>
          <p:cNvSpPr txBox="1"/>
          <p:nvPr/>
        </p:nvSpPr>
        <p:spPr>
          <a:xfrm>
            <a:off x="6781800" y="1676400"/>
            <a:ext cx="4648200" cy="369331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put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2:0]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m_addr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en-US" sz="18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8 x 8 bit ROM</a:t>
            </a:r>
          </a:p>
          <a:p>
            <a:r>
              <a:rPr lang="en-US" sz="18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tput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reg [7:0] 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m_dout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r>
              <a:rPr lang="en-US" sz="18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ways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@(*)</a:t>
            </a:r>
          </a:p>
          <a:p>
            <a:r>
              <a:rPr lang="en-US" sz="18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se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m_addr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lvl="1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’d0: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m_dou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&lt;= 8’b10101010;</a:t>
            </a:r>
          </a:p>
          <a:p>
            <a:pPr lvl="1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’d1: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m_dou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&lt;= 8’b11111000;</a:t>
            </a:r>
          </a:p>
          <a:p>
            <a:pPr lvl="1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’d2: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m_dou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&lt;= 8’b00100000;</a:t>
            </a:r>
          </a:p>
          <a:p>
            <a:pPr lvl="1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’d3: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m_dou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&lt;= 8’b11100011;</a:t>
            </a:r>
          </a:p>
          <a:p>
            <a:pPr lvl="1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’d4: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m_dou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&lt;= 8’b00000000;</a:t>
            </a:r>
          </a:p>
          <a:p>
            <a:pPr lvl="1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’d5: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m_dou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&lt;= 8’b00101110;</a:t>
            </a:r>
          </a:p>
          <a:p>
            <a:pPr lvl="1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’d6: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m_dou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&lt;= 8’b10111011;</a:t>
            </a:r>
          </a:p>
          <a:p>
            <a:pPr lvl="1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3’d7: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m_dou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&lt;= 8’b11111011;</a:t>
            </a:r>
          </a:p>
          <a:p>
            <a:r>
              <a:rPr lang="en-US" sz="1800" dirty="0" err="1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dcase</a:t>
            </a:r>
            <a:endParaRPr lang="en-US" sz="1800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434883EB-CCD4-418C-BA53-43E5F489548B}"/>
                  </a:ext>
                </a:extLst>
              </p14:cNvPr>
              <p14:cNvContentPartPr/>
              <p14:nvPr/>
            </p14:nvContentPartPr>
            <p14:xfrm>
              <a:off x="2920680" y="1149840"/>
              <a:ext cx="7134480" cy="5667840"/>
            </p14:xfrm>
          </p:contentPart>
        </mc:Choice>
        <mc:Fallback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434883EB-CCD4-418C-BA53-43E5F489548B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911320" y="1140480"/>
                <a:ext cx="7153200" cy="56865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5916233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0295A-91EE-E3A2-CC10-7517EF605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M Example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5CE9A2-3ED3-7F01-8194-69424BB5E3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5486400" cy="4906960"/>
          </a:xfrm>
        </p:spPr>
        <p:txBody>
          <a:bodyPr/>
          <a:lstStyle/>
          <a:p>
            <a:r>
              <a:rPr lang="en-US" dirty="0"/>
              <a:t>In this example, the code basically reads in a file called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rom_data_hex.txt</a:t>
            </a:r>
            <a:endParaRPr lang="en-US" dirty="0"/>
          </a:p>
          <a:p>
            <a:r>
              <a:rPr lang="en-US" dirty="0"/>
              <a:t>The size of the memory is 2^address × data.</a:t>
            </a:r>
          </a:p>
          <a:p>
            <a:r>
              <a:rPr lang="en-US" dirty="0"/>
              <a:t>In Verilog this is represented by an array vari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3DE775-6CB7-5AF3-AF13-45B47CF19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9C25B5-295E-4BD6-78D4-0BF9ABC78329}"/>
              </a:ext>
            </a:extLst>
          </p:cNvPr>
          <p:cNvSpPr txBox="1"/>
          <p:nvPr/>
        </p:nvSpPr>
        <p:spPr>
          <a:xfrm>
            <a:off x="6248400" y="1219205"/>
            <a:ext cx="5105400" cy="378565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put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4:0]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d_addr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Read address</a:t>
            </a:r>
          </a:p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tput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7:0]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out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Output data</a:t>
            </a:r>
          </a:p>
          <a:p>
            <a:endParaRPr lang="en-US" sz="2000" b="0" i="0" u="none" strike="noStrike" baseline="0" dirty="0">
              <a:latin typeface="Times New Roman" panose="02020603050405020304" pitchFamily="18" charset="0"/>
            </a:endParaRPr>
          </a:p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7:0] mem [31:0]; </a:t>
            </a:r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</a:t>
            </a:r>
            <a:r>
              <a:rPr lang="en-US" sz="2000" dirty="0" err="1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ord_size</a:t>
            </a:r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x </a:t>
            </a:r>
            <a:r>
              <a:rPr lang="en-US" sz="2000" dirty="0" err="1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ray_size</a:t>
            </a:r>
            <a:endParaRPr lang="en-US" sz="2000" dirty="0">
              <a:solidFill>
                <a:schemeClr val="accent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000" dirty="0">
              <a:solidFill>
                <a:schemeClr val="accent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Initializing the ROM contents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itial begin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$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eadmemh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”rom_data_hex.txt”, mem, 0, 31);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d</a:t>
            </a:r>
          </a:p>
          <a:p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Read port (asynchronous)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sign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out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= mem[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d_addr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];</a:t>
            </a:r>
          </a:p>
          <a:p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28AAFB7C-52B5-49EE-8331-B20DA1FAC6E0}"/>
                  </a:ext>
                </a:extLst>
              </p14:cNvPr>
              <p14:cNvContentPartPr/>
              <p14:nvPr/>
            </p14:nvContentPartPr>
            <p14:xfrm>
              <a:off x="793800" y="478080"/>
              <a:ext cx="9658440" cy="6359760"/>
            </p14:xfrm>
          </p:contentPart>
        </mc:Choice>
        <mc:Fallback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28AAFB7C-52B5-49EE-8331-B20DA1FAC6E0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84440" y="468720"/>
                <a:ext cx="9677160" cy="63784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1606561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0295A-91EE-E3A2-CC10-7517EF605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M Example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5CE9A2-3ED3-7F01-8194-69424BB5E3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5486400" cy="4906960"/>
          </a:xfrm>
        </p:spPr>
        <p:txBody>
          <a:bodyPr/>
          <a:lstStyle/>
          <a:p>
            <a:r>
              <a:rPr lang="en-US" dirty="0"/>
              <a:t>2k x 12 bit ROM with 2 read por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3DE775-6CB7-5AF3-AF13-45B47CF19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9C25B5-295E-4BD6-78D4-0BF9ABC78329}"/>
              </a:ext>
            </a:extLst>
          </p:cNvPr>
          <p:cNvSpPr txBox="1"/>
          <p:nvPr/>
        </p:nvSpPr>
        <p:spPr>
          <a:xfrm>
            <a:off x="5638800" y="1219205"/>
            <a:ext cx="5867400" cy="44012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put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10:0] rd_addr1; </a:t>
            </a:r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Address for the 1st read port</a:t>
            </a:r>
          </a:p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put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10:0] rd_addr2; </a:t>
            </a:r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Address for the 2nd read port</a:t>
            </a:r>
          </a:p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tput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11:0] dout1; </a:t>
            </a:r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Output data1</a:t>
            </a:r>
          </a:p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tput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11:0] dout2; </a:t>
            </a:r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Output data2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11:0] mem [2047:0];</a:t>
            </a:r>
          </a:p>
          <a:p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Initializing the ROM contents</a:t>
            </a:r>
          </a:p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itial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$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eadmemh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”rom_data_hex.txt”, mem, 0, 2047);</a:t>
            </a:r>
          </a:p>
          <a:p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Read ports (synchronous)</a:t>
            </a:r>
          </a:p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ways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@(</a:t>
            </a:r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sedge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lk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gin</a:t>
            </a:r>
          </a:p>
          <a:p>
            <a:pPr lvl="1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out1 &lt;= mem[rd_addr1];</a:t>
            </a:r>
          </a:p>
          <a:p>
            <a:pPr lvl="1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out2 &lt;= mem[rd_addr2];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d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933D4A51-6016-4FC6-87E5-9DB5AE8FA780}"/>
                  </a:ext>
                </a:extLst>
              </p14:cNvPr>
              <p14:cNvContentPartPr/>
              <p14:nvPr/>
            </p14:nvContentPartPr>
            <p14:xfrm>
              <a:off x="91440" y="1719360"/>
              <a:ext cx="10564200" cy="4894560"/>
            </p14:xfrm>
          </p:contentPart>
        </mc:Choice>
        <mc:Fallback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933D4A51-6016-4FC6-87E5-9DB5AE8FA780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2080" y="1710000"/>
                <a:ext cx="10582920" cy="49132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480313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D957F4-4227-991E-DDE7-4A15C330D8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ndom Access Memory (RAM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901B8A-353D-EEDA-1E7F-C2C0EF1D67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4419600" cy="4906960"/>
          </a:xfrm>
        </p:spPr>
        <p:txBody>
          <a:bodyPr/>
          <a:lstStyle/>
          <a:p>
            <a:r>
              <a:rPr lang="en-US" sz="2400" dirty="0"/>
              <a:t>2k x 12 bit RAM</a:t>
            </a:r>
          </a:p>
          <a:p>
            <a:r>
              <a:rPr lang="en-US" sz="2400" dirty="0"/>
              <a:t>RAM in Verilog is also an array variable.</a:t>
            </a:r>
          </a:p>
          <a:p>
            <a:r>
              <a:rPr lang="en-US" sz="2400" dirty="0"/>
              <a:t>RAM has data input/output and a dedicated input address for each.</a:t>
            </a:r>
          </a:p>
          <a:p>
            <a:r>
              <a:rPr lang="en-US" sz="2400" dirty="0"/>
              <a:t>RAM has a control signal </a:t>
            </a:r>
            <a:r>
              <a:rPr lang="en-US" sz="2400" dirty="0" err="1"/>
              <a:t>W_en</a:t>
            </a:r>
            <a:r>
              <a:rPr lang="en-US" sz="2400" dirty="0"/>
              <a:t> to specify a write/read ope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973662-7801-3A44-6DAD-7F147D098A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DA0991-B33B-898B-DFF2-D96455F9969D}"/>
              </a:ext>
            </a:extLst>
          </p:cNvPr>
          <p:cNvSpPr txBox="1"/>
          <p:nvPr/>
        </p:nvSpPr>
        <p:spPr>
          <a:xfrm>
            <a:off x="5638800" y="1443841"/>
            <a:ext cx="5354854" cy="501675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put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10:0]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wr_addr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Address for write port </a:t>
            </a:r>
          </a:p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put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10:0]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d_addr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Address for read port </a:t>
            </a:r>
          </a:p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put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11:0] din; </a:t>
            </a:r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Input data </a:t>
            </a:r>
          </a:p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put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write_en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Write enable signal</a:t>
            </a:r>
          </a:p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tput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11:0]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out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Output data </a:t>
            </a:r>
          </a:p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11:0] mem [2047:0]; </a:t>
            </a:r>
          </a:p>
          <a:p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Initializing the RAM contents initial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$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eadmemh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”mem_data_hex.txt”, mem, 0, 2047); </a:t>
            </a:r>
          </a:p>
          <a:p>
            <a:r>
              <a:rPr lang="en-US" sz="2000" dirty="0">
                <a:solidFill>
                  <a:schemeClr val="accent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/Write and read ports (synchronous) </a:t>
            </a:r>
          </a:p>
          <a:p>
            <a:endParaRPr lang="en-US" sz="2000" dirty="0">
              <a:solidFill>
                <a:schemeClr val="accent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ways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@(</a:t>
            </a:r>
            <a:r>
              <a:rPr lang="en-US" sz="20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sedge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lk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begin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f (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write_en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mem[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wr_addr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] &lt;= din; 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lse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out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&lt;= mem[</a:t>
            </a:r>
            <a:r>
              <a:rPr lang="en-US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d_addr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]; 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d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E49DFA4F-0F32-45FD-A915-0E98E0212394}"/>
                  </a:ext>
                </a:extLst>
              </p14:cNvPr>
              <p14:cNvContentPartPr/>
              <p14:nvPr/>
            </p14:nvContentPartPr>
            <p14:xfrm>
              <a:off x="91440" y="1383840"/>
              <a:ext cx="8925840" cy="5281200"/>
            </p14:xfrm>
          </p:contentPart>
        </mc:Choice>
        <mc:Fallback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E49DFA4F-0F32-45FD-A915-0E98E0212394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2080" y="1374480"/>
                <a:ext cx="8944560" cy="5299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31969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6434" y="1219200"/>
            <a:ext cx="10972800" cy="4906960"/>
          </a:xfrm>
        </p:spPr>
        <p:txBody>
          <a:bodyPr>
            <a:noAutofit/>
          </a:bodyPr>
          <a:lstStyle/>
          <a:p>
            <a:pPr marL="457200" lvl="1" indent="0">
              <a:buNone/>
            </a:pPr>
            <a:endParaRPr lang="en-US" dirty="0"/>
          </a:p>
          <a:p>
            <a:pPr lvl="1"/>
            <a:r>
              <a:rPr lang="en-US" sz="2800" dirty="0"/>
              <a:t>Verilog constructs that allow a module to be used with different specification.</a:t>
            </a:r>
          </a:p>
          <a:p>
            <a:pPr lvl="1"/>
            <a:r>
              <a:rPr lang="en-US" sz="2800" dirty="0"/>
              <a:t>New parameter values can be passed in during module instantiation.</a:t>
            </a:r>
          </a:p>
          <a:p>
            <a:pPr lvl="1"/>
            <a:r>
              <a:rPr lang="en-US" sz="2800" dirty="0"/>
              <a:t>Parameters are basically constants hence it’s illegal to modify their values during runtime.</a:t>
            </a:r>
          </a:p>
          <a:p>
            <a:pPr lvl="1"/>
            <a:r>
              <a:rPr lang="en-US" sz="2800" dirty="0"/>
              <a:t>It’s illegal to declare a name that is already used by a net, variable or another parameter.</a:t>
            </a:r>
            <a:br>
              <a:rPr lang="en-US" sz="2800" dirty="0"/>
            </a:br>
            <a:endParaRPr lang="en-US" sz="2800" dirty="0"/>
          </a:p>
          <a:p>
            <a:pPr marL="457200" lvl="1" indent="0">
              <a:buNone/>
            </a:pPr>
            <a:endParaRPr lang="en-US" dirty="0"/>
          </a:p>
          <a:p>
            <a:pPr marL="0" indent="0">
              <a:buNone/>
            </a:pPr>
            <a:br>
              <a:rPr lang="en-US" b="1" dirty="0"/>
            </a:b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6067428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BF9B99-3AB9-F209-5603-5A9B1B29E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ame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EB1DF4-635F-ACF4-068C-17E2661561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ou may declare the parameters as shown  below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. </a:t>
            </a:r>
            <a:r>
              <a:rPr lang="en-US" sz="2400" dirty="0"/>
              <a:t>Parameters can be overridden with new values during module instantiation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9EE7FC-27EE-7A7B-BA8F-A862D627F0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063D03-ADC9-A4BE-515F-03AF95926372}"/>
              </a:ext>
            </a:extLst>
          </p:cNvPr>
          <p:cNvSpPr txBox="1"/>
          <p:nvPr/>
        </p:nvSpPr>
        <p:spPr>
          <a:xfrm>
            <a:off x="990600" y="1752600"/>
            <a:ext cx="5638800" cy="17543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module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my_</a:t>
            </a:r>
            <a:r>
              <a:rPr lang="en-US" dirty="0" err="1">
                <a:latin typeface="Times New Roman" panose="02020603050405020304" pitchFamily="18" charset="0"/>
              </a:rPr>
              <a:t>design</a:t>
            </a:r>
            <a:endParaRPr lang="en-US" dirty="0">
              <a:latin typeface="Times New Roman" panose="02020603050405020304" pitchFamily="18" charset="0"/>
            </a:endParaRPr>
          </a:p>
          <a:p>
            <a:pPr algn="l"/>
            <a:r>
              <a:rPr lang="en-US" dirty="0">
                <a:latin typeface="Times New Roman" panose="02020603050405020304" pitchFamily="18" charset="0"/>
              </a:rPr>
              <a:t> # ( </a:t>
            </a:r>
            <a:r>
              <a:rPr lang="en-US" b="1" dirty="0">
                <a:latin typeface="Times New Roman" panose="02020603050405020304" pitchFamily="18" charset="0"/>
              </a:rPr>
              <a:t>parameter</a:t>
            </a:r>
            <a:r>
              <a:rPr lang="en-US" dirty="0">
                <a:latin typeface="Times New Roman" panose="02020603050405020304" pitchFamily="18" charset="0"/>
              </a:rPr>
              <a:t> DATA_WIDTH=32;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     </a:t>
            </a:r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 parameter  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BUS_WIDTH=64;</a:t>
            </a:r>
            <a:r>
              <a:rPr lang="en-US" dirty="0">
                <a:latin typeface="Times New Roman" panose="02020603050405020304" pitchFamily="18" charset="0"/>
              </a:rPr>
              <a:t>    )</a:t>
            </a:r>
          </a:p>
          <a:p>
            <a:pPr algn="l"/>
            <a:endParaRPr lang="en-US" sz="1800" b="0" i="0" u="none" strike="noStrike" baseline="0" dirty="0">
              <a:latin typeface="Times New Roman" panose="02020603050405020304" pitchFamily="18" charset="0"/>
            </a:endParaRP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   (   input  </a:t>
            </a:r>
            <a:r>
              <a:rPr lang="en-US" sz="1800" i="0" u="none" strike="noStrike" baseline="0" dirty="0">
                <a:latin typeface="Times New Roman" panose="02020603050405020304" pitchFamily="18" charset="0"/>
              </a:rPr>
              <a:t>[BUS_WIDTH -1]  </a:t>
            </a:r>
            <a:r>
              <a:rPr lang="en-US" sz="1800" i="0" u="none" strike="noStrike" baseline="0" dirty="0" err="1">
                <a:latin typeface="Times New Roman" panose="02020603050405020304" pitchFamily="18" charset="0"/>
              </a:rPr>
              <a:t>addr</a:t>
            </a:r>
            <a:r>
              <a:rPr lang="en-US" sz="1800" i="0" u="none" strike="noStrike" baseline="0" dirty="0">
                <a:latin typeface="Times New Roman" panose="02020603050405020304" pitchFamily="18" charset="0"/>
              </a:rPr>
              <a:t> ; </a:t>
            </a:r>
          </a:p>
          <a:p>
            <a:pPr algn="l"/>
            <a:r>
              <a:rPr lang="en-US" dirty="0">
                <a:latin typeface="Times New Roman" panose="02020603050405020304" pitchFamily="18" charset="0"/>
              </a:rPr>
              <a:t>     // </a:t>
            </a:r>
            <a:r>
              <a:rPr lang="en-US" dirty="0">
                <a:solidFill>
                  <a:schemeClr val="accent6">
                    <a:lumMod val="60000"/>
                    <a:lumOff val="40000"/>
                  </a:schemeClr>
                </a:solidFill>
                <a:latin typeface="Times New Roman" panose="02020603050405020304" pitchFamily="18" charset="0"/>
              </a:rPr>
              <a:t>other ports declaration            </a:t>
            </a:r>
            <a:r>
              <a:rPr lang="en-US" sz="1800" i="0" u="none" strike="noStrike" baseline="0" dirty="0">
                <a:latin typeface="Times New Roman" panose="02020603050405020304" pitchFamily="18" charset="0"/>
              </a:rPr>
              <a:t>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34533F-1984-A1DE-33CE-CD2D0A304838}"/>
              </a:ext>
            </a:extLst>
          </p:cNvPr>
          <p:cNvSpPr txBox="1"/>
          <p:nvPr/>
        </p:nvSpPr>
        <p:spPr>
          <a:xfrm>
            <a:off x="838200" y="4267200"/>
            <a:ext cx="10363200" cy="17543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l"/>
            <a:r>
              <a:rPr lang="en-US" b="1" dirty="0">
                <a:latin typeface="Times New Roman" panose="02020603050405020304" pitchFamily="18" charset="0"/>
              </a:rPr>
              <a:t>m</a:t>
            </a:r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odule </a:t>
            </a:r>
            <a:r>
              <a:rPr lang="en-US" sz="1800" i="0" u="none" strike="noStrike" baseline="0" dirty="0">
                <a:latin typeface="Times New Roman" panose="02020603050405020304" pitchFamily="18" charset="0"/>
              </a:rPr>
              <a:t> tb</a:t>
            </a:r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;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 </a:t>
            </a:r>
          </a:p>
          <a:p>
            <a:pPr algn="l"/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my_</a:t>
            </a:r>
            <a:r>
              <a:rPr lang="en-US" dirty="0" err="1">
                <a:latin typeface="Times New Roman" panose="02020603050405020304" pitchFamily="18" charset="0"/>
              </a:rPr>
              <a:t>design</a:t>
            </a:r>
            <a:r>
              <a:rPr lang="en-US" dirty="0">
                <a:latin typeface="Times New Roman" panose="02020603050405020304" pitchFamily="18" charset="0"/>
              </a:rPr>
              <a:t>  # ( </a:t>
            </a:r>
            <a:r>
              <a:rPr lang="en-US" b="1" dirty="0">
                <a:latin typeface="Times New Roman" panose="02020603050405020304" pitchFamily="18" charset="0"/>
              </a:rPr>
              <a:t>parameter</a:t>
            </a:r>
            <a:r>
              <a:rPr lang="en-US" dirty="0">
                <a:latin typeface="Times New Roman" panose="02020603050405020304" pitchFamily="18" charset="0"/>
              </a:rPr>
              <a:t> DATA_WIDTH=32 ,</a:t>
            </a:r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 parameter  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BUS_WIDTH=64;</a:t>
            </a:r>
            <a:r>
              <a:rPr lang="en-US" dirty="0">
                <a:latin typeface="Times New Roman" panose="02020603050405020304" pitchFamily="18" charset="0"/>
              </a:rPr>
              <a:t>  ) d0 ([</a:t>
            </a:r>
            <a:r>
              <a:rPr lang="en-US" dirty="0" err="1">
                <a:latin typeface="Times New Roman" panose="02020603050405020304" pitchFamily="18" charset="0"/>
              </a:rPr>
              <a:t>port_list</a:t>
            </a:r>
            <a:r>
              <a:rPr lang="en-US" dirty="0">
                <a:latin typeface="Times New Roman" panose="02020603050405020304" pitchFamily="18" charset="0"/>
              </a:rPr>
              <a:t>]);</a:t>
            </a:r>
          </a:p>
          <a:p>
            <a:pPr algn="l"/>
            <a:endParaRPr lang="en-US" sz="1800" b="0" i="0" u="none" strike="noStrike" baseline="0" dirty="0">
              <a:latin typeface="Times New Roman" panose="02020603050405020304" pitchFamily="18" charset="0"/>
            </a:endParaRP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   (   input  </a:t>
            </a:r>
            <a:r>
              <a:rPr lang="en-US" sz="1800" i="0" u="none" strike="noStrike" baseline="0" dirty="0">
                <a:latin typeface="Times New Roman" panose="02020603050405020304" pitchFamily="18" charset="0"/>
              </a:rPr>
              <a:t>[BUS_WIDTH -1]  </a:t>
            </a:r>
            <a:r>
              <a:rPr lang="en-US" sz="1800" i="0" u="none" strike="noStrike" baseline="0" dirty="0" err="1">
                <a:latin typeface="Times New Roman" panose="02020603050405020304" pitchFamily="18" charset="0"/>
              </a:rPr>
              <a:t>addr</a:t>
            </a:r>
            <a:r>
              <a:rPr lang="en-US" sz="1800" i="0" u="none" strike="noStrike" baseline="0" dirty="0">
                <a:latin typeface="Times New Roman" panose="02020603050405020304" pitchFamily="18" charset="0"/>
              </a:rPr>
              <a:t> ; </a:t>
            </a:r>
          </a:p>
          <a:p>
            <a:pPr algn="l"/>
            <a:r>
              <a:rPr lang="en-US" dirty="0">
                <a:latin typeface="Times New Roman" panose="02020603050405020304" pitchFamily="18" charset="0"/>
              </a:rPr>
              <a:t>     // </a:t>
            </a:r>
            <a:r>
              <a:rPr lang="en-US" dirty="0">
                <a:solidFill>
                  <a:schemeClr val="accent6">
                    <a:lumMod val="60000"/>
                    <a:lumOff val="40000"/>
                  </a:schemeClr>
                </a:solidFill>
                <a:latin typeface="Times New Roman" panose="02020603050405020304" pitchFamily="18" charset="0"/>
              </a:rPr>
              <a:t>other ports declaration            </a:t>
            </a:r>
            <a:r>
              <a:rPr lang="en-US" sz="1800" i="0" u="none" strike="noStrike" baseline="0" dirty="0">
                <a:latin typeface="Times New Roman" panose="02020603050405020304" pitchFamily="18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776760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9B56C-83B9-4471-9C15-32850A587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l Parame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56880F-B1A2-5AFC-1DE0-EB5D0C037C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Verilog HDL local parameters are identical to parameters except that they </a:t>
            </a:r>
            <a:r>
              <a:rPr lang="en-US" sz="2400" b="1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cannot directly be modified </a:t>
            </a:r>
            <a:r>
              <a:rPr lang="en-US" sz="240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by module instance parameter value assignments</a:t>
            </a:r>
            <a:r>
              <a:rPr 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endParaRPr lang="en-US" dirty="0">
              <a:solidFill>
                <a:srgbClr val="404040"/>
              </a:solidFill>
              <a:latin typeface="Arial" panose="020B0604020202020204" pitchFamily="34" charset="0"/>
            </a:endParaRPr>
          </a:p>
          <a:p>
            <a:r>
              <a:rPr lang="en-US" b="0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Ex: Encoding of states in FSM as local parameters.</a:t>
            </a:r>
          </a:p>
          <a:p>
            <a:endParaRPr lang="en-US" b="0" i="0" dirty="0">
              <a:solidFill>
                <a:srgbClr val="404040"/>
              </a:solidFill>
              <a:effectLst/>
              <a:latin typeface="Arial" panose="020B0604020202020204" pitchFamily="34" charset="0"/>
            </a:endParaRPr>
          </a:p>
          <a:p>
            <a:endParaRPr lang="en-US" dirty="0">
              <a:solidFill>
                <a:srgbClr val="404040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en-US" b="0" i="0" dirty="0">
              <a:solidFill>
                <a:srgbClr val="404040"/>
              </a:solidFill>
              <a:effectLst/>
              <a:latin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0A300F-2DED-6CD2-535E-7FE405188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A271A00-C851-BB38-CD89-BAC5F0AEDF90}"/>
              </a:ext>
            </a:extLst>
          </p:cNvPr>
          <p:cNvSpPr txBox="1"/>
          <p:nvPr/>
        </p:nvSpPr>
        <p:spPr>
          <a:xfrm>
            <a:off x="914400" y="3742862"/>
            <a:ext cx="4724400" cy="230832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localparam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state0 = </a:t>
            </a:r>
            <a:r>
              <a:rPr lang="en-US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'b000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   state1 = </a:t>
            </a:r>
            <a:r>
              <a:rPr lang="en-US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'b001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   state2 = </a:t>
            </a:r>
            <a:r>
              <a:rPr lang="en-US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'b010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 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   state3 = </a:t>
            </a:r>
            <a:r>
              <a:rPr lang="en-US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'b011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          state4 = </a:t>
            </a:r>
            <a:r>
              <a:rPr lang="en-US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3'b100</a:t>
            </a:r>
            <a: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; </a:t>
            </a:r>
          </a:p>
          <a:p>
            <a:br>
              <a:rPr lang="en-US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endParaRPr lang="en-US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pPr algn="l"/>
            <a:endParaRPr lang="en-US" sz="1800" i="0" u="none" strike="noStrike" baseline="0" dirty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30956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ite State Machine: examp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6A78E5-FEFF-7339-F39C-93670AD948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bg2"/>
                </a:solidFill>
              </a:rPr>
              <a:t>Module inputs, outputs, and state definition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496512-5544-4E11-60C7-D037F36F4CF8}"/>
              </a:ext>
            </a:extLst>
          </p:cNvPr>
          <p:cNvSpPr txBox="1"/>
          <p:nvPr/>
        </p:nvSpPr>
        <p:spPr>
          <a:xfrm>
            <a:off x="6065520" y="1527726"/>
            <a:ext cx="5499774" cy="17543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module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my_fsm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(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clk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,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rs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, start, skip3, wait3,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);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input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clk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,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rs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, start, skip3, wait3;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output reg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[2:0]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; </a:t>
            </a:r>
            <a:r>
              <a:rPr lang="en-US" sz="1800" b="0" i="0" u="none" strike="noStrike" baseline="0" dirty="0">
                <a:solidFill>
                  <a:schemeClr val="accent5"/>
                </a:solidFill>
                <a:latin typeface="Times New Roman" panose="02020603050405020304" pitchFamily="18" charset="0"/>
              </a:rPr>
              <a:t>// </a:t>
            </a:r>
            <a:r>
              <a:rPr lang="en-US" sz="1800" b="0" i="1" u="none" strike="noStrike" baseline="0" dirty="0" err="1">
                <a:solidFill>
                  <a:schemeClr val="accent5"/>
                </a:solidFill>
                <a:latin typeface="Times New Roman" panose="02020603050405020304" pitchFamily="18" charset="0"/>
              </a:rPr>
              <a:t>Zout</a:t>
            </a:r>
            <a:r>
              <a:rPr lang="en-US" sz="1800" b="0" i="1" u="none" strike="noStrike" baseline="0" dirty="0">
                <a:solidFill>
                  <a:schemeClr val="accent5"/>
                </a:solidFill>
                <a:latin typeface="Times New Roman" panose="02020603050405020304" pitchFamily="18" charset="0"/>
              </a:rPr>
              <a:t> is declared reg so that it //can be assigned in an always block.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parameter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state0=0, state1=1, state2=2, state3=3;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reg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[1:0] </a:t>
            </a:r>
            <a:r>
              <a:rPr lang="en-US" dirty="0" err="1">
                <a:latin typeface="Times New Roman" panose="02020603050405020304" pitchFamily="18" charset="0"/>
              </a:rPr>
              <a:t>cur_s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,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nxt_s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;</a:t>
            </a:r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ECABF34-FA14-D0BE-ED55-00F1124B7EA5}"/>
              </a:ext>
            </a:extLst>
          </p:cNvPr>
          <p:cNvSpPr txBox="1"/>
          <p:nvPr/>
        </p:nvSpPr>
        <p:spPr>
          <a:xfrm>
            <a:off x="5469294" y="1025500"/>
            <a:ext cx="411480" cy="40011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C00000"/>
                </a:solidFill>
              </a:rPr>
              <a:t>1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7F94BA2-3B46-52F2-039B-9723B13331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5920" y="1905000"/>
            <a:ext cx="4267200" cy="441710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DD754E2-694F-5458-099A-77B9329A9B35}"/>
              </a:ext>
            </a:extLst>
          </p:cNvPr>
          <p:cNvSpPr txBox="1"/>
          <p:nvPr/>
        </p:nvSpPr>
        <p:spPr>
          <a:xfrm>
            <a:off x="572174" y="1902632"/>
            <a:ext cx="2323426" cy="120032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in state0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000,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in state1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101,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in state2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111,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in state3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001.</a:t>
            </a:r>
            <a:endParaRPr lang="en-US" dirty="0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5167FFF9-DD11-444E-8BA2-BB6C0DD2FDE7}"/>
                  </a:ext>
                </a:extLst>
              </p14:cNvPr>
              <p14:cNvContentPartPr/>
              <p14:nvPr/>
            </p14:nvContentPartPr>
            <p14:xfrm>
              <a:off x="5546520" y="2543760"/>
              <a:ext cx="5516280" cy="3195360"/>
            </p14:xfrm>
          </p:contentPart>
        </mc:Choice>
        <mc:Fallback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5167FFF9-DD11-444E-8BA2-BB6C0DD2FDE7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537160" y="2534400"/>
                <a:ext cx="5535000" cy="3214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198558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ite State Machine: examp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6A78E5-FEFF-7339-F39C-93670AD948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bg2"/>
                </a:solidFill>
              </a:rPr>
              <a:t>Combinational current state logic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E065D1-AF8A-D2FC-76A7-A08C4742E0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5920" y="1905000"/>
            <a:ext cx="4267200" cy="441710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4496512-5544-4E11-60C7-D037F36F4CF8}"/>
              </a:ext>
            </a:extLst>
          </p:cNvPr>
          <p:cNvSpPr txBox="1"/>
          <p:nvPr/>
        </p:nvSpPr>
        <p:spPr>
          <a:xfrm>
            <a:off x="5969000" y="980065"/>
            <a:ext cx="5596294" cy="59093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always @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(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cur_state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</a:t>
            </a:r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or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start </a:t>
            </a:r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or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skip3 </a:t>
            </a:r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or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wait3)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begin : </a:t>
            </a:r>
            <a:r>
              <a:rPr lang="en-US" dirty="0" err="1">
                <a:latin typeface="Times New Roman" panose="02020603050405020304" pitchFamily="18" charset="0"/>
              </a:rPr>
              <a:t>current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_state_logic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</a:t>
            </a:r>
            <a:r>
              <a:rPr lang="en-US" sz="1800" b="0" i="0" u="none" strike="noStrike" baseline="0" dirty="0">
                <a:solidFill>
                  <a:schemeClr val="accent5"/>
                </a:solidFill>
                <a:latin typeface="Times New Roman" panose="02020603050405020304" pitchFamily="18" charset="0"/>
              </a:rPr>
              <a:t>//</a:t>
            </a:r>
            <a:r>
              <a:rPr lang="en-US" sz="1800" b="0" i="1" u="none" strike="noStrike" baseline="0" dirty="0">
                <a:solidFill>
                  <a:schemeClr val="accent5"/>
                </a:solidFill>
                <a:latin typeface="Times New Roman" panose="02020603050405020304" pitchFamily="18" charset="0"/>
              </a:rPr>
              <a:t>Name of always procedure.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case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(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cur_state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)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state0: </a:t>
            </a:r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begin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if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(start)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nxt_s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state1;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else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nxt_s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state0;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end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state1: </a:t>
            </a:r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begin</a:t>
            </a:r>
          </a:p>
          <a:p>
            <a:pPr algn="l"/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nxt_s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state2;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end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state2: </a:t>
            </a:r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begin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if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(skip3)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nxt_s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state0;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else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nxt_s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state3;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end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state3: </a:t>
            </a:r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begin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if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(wait3)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nxt_s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state3;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else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nxt_s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state0;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end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defaul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nxt_s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state0;</a:t>
            </a:r>
          </a:p>
          <a:p>
            <a:pPr algn="l"/>
            <a:r>
              <a:rPr lang="en-US" sz="1800" b="1" i="0" u="none" strike="noStrike" baseline="0" dirty="0" err="1">
                <a:latin typeface="Times New Roman" panose="02020603050405020304" pitchFamily="18" charset="0"/>
              </a:rPr>
              <a:t>endcase</a:t>
            </a:r>
            <a:endParaRPr lang="en-US" sz="1800" b="0" i="1" u="none" strike="noStrike" baseline="0" dirty="0">
              <a:latin typeface="Times New Roman" panose="02020603050405020304" pitchFamily="18" charset="0"/>
            </a:endParaRP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end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0AA2C50-A704-C4E4-F9EC-4FCCC4B76159}"/>
              </a:ext>
            </a:extLst>
          </p:cNvPr>
          <p:cNvSpPr txBox="1"/>
          <p:nvPr/>
        </p:nvSpPr>
        <p:spPr>
          <a:xfrm>
            <a:off x="572174" y="1902632"/>
            <a:ext cx="2323426" cy="120032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in state0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000,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in state1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101,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in state2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111,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in state3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001.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F7066B-B28F-DE9D-7590-8D792DB8CEAD}"/>
              </a:ext>
            </a:extLst>
          </p:cNvPr>
          <p:cNvSpPr txBox="1"/>
          <p:nvPr/>
        </p:nvSpPr>
        <p:spPr>
          <a:xfrm>
            <a:off x="5469294" y="1025500"/>
            <a:ext cx="411480" cy="40011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C00000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285900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ite State Machine: examp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6A78E5-FEFF-7339-F39C-93670AD948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bg2"/>
                </a:solidFill>
              </a:rPr>
              <a:t>Sequential next state logic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E065D1-AF8A-D2FC-76A7-A08C4742E0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5920" y="1905000"/>
            <a:ext cx="4267200" cy="441710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0AA2C50-A704-C4E4-F9EC-4FCCC4B76159}"/>
              </a:ext>
            </a:extLst>
          </p:cNvPr>
          <p:cNvSpPr txBox="1"/>
          <p:nvPr/>
        </p:nvSpPr>
        <p:spPr>
          <a:xfrm>
            <a:off x="572174" y="1902632"/>
            <a:ext cx="2323426" cy="120032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in state0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000,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in state1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101,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in state2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111,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in state3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001.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4E08B4-C6E2-696E-46F0-34074B9ADD38}"/>
              </a:ext>
            </a:extLst>
          </p:cNvPr>
          <p:cNvSpPr txBox="1"/>
          <p:nvPr/>
        </p:nvSpPr>
        <p:spPr>
          <a:xfrm>
            <a:off x="6289309" y="1527726"/>
            <a:ext cx="5275985" cy="14773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always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@(posedge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clk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or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posedge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rs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)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begin 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next_state_logic</a:t>
            </a:r>
            <a:endParaRPr lang="en-US" sz="1800" b="0" i="0" u="none" strike="noStrike" baseline="0" dirty="0">
              <a:latin typeface="Times New Roman" panose="02020603050405020304" pitchFamily="18" charset="0"/>
            </a:endParaRP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if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(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rs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)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cur_state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state0;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else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cur_state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nxt_s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;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end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030F4F4-84DB-DC10-837C-1944213FACC9}"/>
              </a:ext>
            </a:extLst>
          </p:cNvPr>
          <p:cNvSpPr txBox="1"/>
          <p:nvPr/>
        </p:nvSpPr>
        <p:spPr>
          <a:xfrm>
            <a:off x="5469294" y="1025500"/>
            <a:ext cx="411480" cy="40011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C00000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1083606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ite State Machine: examp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6A78E5-FEFF-7339-F39C-93670AD948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bg2"/>
                </a:solidFill>
              </a:rPr>
              <a:t>Output logic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E065D1-AF8A-D2FC-76A7-A08C4742E0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5920" y="1905000"/>
            <a:ext cx="4267200" cy="441710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0AA2C50-A704-C4E4-F9EC-4FCCC4B76159}"/>
              </a:ext>
            </a:extLst>
          </p:cNvPr>
          <p:cNvSpPr txBox="1"/>
          <p:nvPr/>
        </p:nvSpPr>
        <p:spPr>
          <a:xfrm>
            <a:off x="572174" y="1902632"/>
            <a:ext cx="2323426" cy="120032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in state0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000,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in state1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101,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in state2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111,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in state3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001.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030F4F4-84DB-DC10-837C-1944213FACC9}"/>
              </a:ext>
            </a:extLst>
          </p:cNvPr>
          <p:cNvSpPr txBox="1"/>
          <p:nvPr/>
        </p:nvSpPr>
        <p:spPr>
          <a:xfrm>
            <a:off x="5469294" y="1025500"/>
            <a:ext cx="411480" cy="40011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C77A050-A80E-0B20-5F9C-6A295C357741}"/>
              </a:ext>
            </a:extLst>
          </p:cNvPr>
          <p:cNvSpPr txBox="1"/>
          <p:nvPr/>
        </p:nvSpPr>
        <p:spPr>
          <a:xfrm>
            <a:off x="6278882" y="1627182"/>
            <a:ext cx="5286412" cy="28623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always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@(state) </a:t>
            </a:r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begin 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output_logic</a:t>
            </a:r>
            <a:endParaRPr lang="en-US" sz="1800" b="0" i="0" u="none" strike="noStrike" baseline="0" dirty="0">
              <a:latin typeface="Times New Roman" panose="02020603050405020304" pitchFamily="18" charset="0"/>
            </a:endParaRP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case 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(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cur_state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)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state0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3’b000;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state1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3’b101;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state2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3’b111;</a:t>
            </a:r>
          </a:p>
          <a:p>
            <a:pPr algn="l"/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state3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3’b001;</a:t>
            </a: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defaul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: </a:t>
            </a:r>
            <a:r>
              <a:rPr lang="en-US" sz="1800" b="0" i="0" u="none" strike="noStrike" baseline="0" dirty="0" err="1">
                <a:latin typeface="Times New Roman" panose="02020603050405020304" pitchFamily="18" charset="0"/>
              </a:rPr>
              <a:t>Zout</a:t>
            </a:r>
            <a:r>
              <a:rPr lang="en-US" sz="1800" b="0" i="0" u="none" strike="noStrike" baseline="0" dirty="0">
                <a:latin typeface="Times New Roman" panose="02020603050405020304" pitchFamily="18" charset="0"/>
              </a:rPr>
              <a:t> = 3’b000; </a:t>
            </a:r>
            <a:r>
              <a:rPr lang="en-US" sz="1800" b="0" i="0" u="none" strike="noStrike" baseline="0" dirty="0">
                <a:solidFill>
                  <a:schemeClr val="accent5"/>
                </a:solidFill>
                <a:latin typeface="Times New Roman" panose="02020603050405020304" pitchFamily="18" charset="0"/>
              </a:rPr>
              <a:t>// </a:t>
            </a:r>
            <a:r>
              <a:rPr lang="en-US" sz="1800" b="0" i="1" u="none" strike="noStrike" baseline="0" dirty="0">
                <a:solidFill>
                  <a:schemeClr val="accent5"/>
                </a:solidFill>
                <a:latin typeface="Times New Roman" panose="02020603050405020304" pitchFamily="18" charset="0"/>
              </a:rPr>
              <a:t>default avoids latches</a:t>
            </a:r>
          </a:p>
          <a:p>
            <a:pPr algn="l"/>
            <a:r>
              <a:rPr lang="en-US" sz="1800" b="1" i="0" u="none" strike="noStrike" baseline="0" dirty="0" err="1">
                <a:latin typeface="Times New Roman" panose="02020603050405020304" pitchFamily="18" charset="0"/>
              </a:rPr>
              <a:t>endcase</a:t>
            </a:r>
            <a:endParaRPr lang="en-US" sz="1800" b="1" i="0" u="none" strike="noStrike" baseline="0" dirty="0">
              <a:latin typeface="Times New Roman" panose="02020603050405020304" pitchFamily="18" charset="0"/>
            </a:endParaRPr>
          </a:p>
          <a:p>
            <a:pPr algn="l"/>
            <a:r>
              <a:rPr lang="en-US" sz="1800" b="1" i="0" u="none" strike="noStrike" baseline="0" dirty="0">
                <a:latin typeface="Times New Roman" panose="02020603050405020304" pitchFamily="18" charset="0"/>
              </a:rPr>
              <a:t>end</a:t>
            </a:r>
          </a:p>
          <a:p>
            <a:pPr algn="l"/>
            <a:r>
              <a:rPr lang="en-US" sz="1800" b="1" i="0" u="none" strike="noStrike" baseline="0" dirty="0" err="1">
                <a:latin typeface="Times New Roman" panose="02020603050405020304" pitchFamily="18" charset="0"/>
              </a:rPr>
              <a:t>endmodule</a:t>
            </a:r>
            <a:endParaRPr lang="en-US" dirty="0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FC80DAAA-98F0-4622-B793-487BC9310519}"/>
                  </a:ext>
                </a:extLst>
              </p14:cNvPr>
              <p14:cNvContentPartPr/>
              <p14:nvPr/>
            </p14:nvContentPartPr>
            <p14:xfrm>
              <a:off x="2666520" y="3286440"/>
              <a:ext cx="1689480" cy="1475640"/>
            </p14:xfrm>
          </p:contentPart>
        </mc:Choice>
        <mc:Fallback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FC80DAAA-98F0-4622-B793-487BC9310519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657160" y="3277080"/>
                <a:ext cx="1708200" cy="14943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9284779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18EBAAE-798C-65F2-0A6D-ADD543D9A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unters: Binary Counte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2F12A7-2329-A3D1-4F3D-AC49EC8C95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5"/>
            <a:ext cx="10972800" cy="2590795"/>
          </a:xfrm>
        </p:spPr>
        <p:txBody>
          <a:bodyPr/>
          <a:lstStyle/>
          <a:p>
            <a:r>
              <a:rPr lang="en-US" dirty="0"/>
              <a:t>Counters are a simple type of FSM where the separation of the flip-flop generation code is usually not worth the effort. </a:t>
            </a:r>
          </a:p>
          <a:p>
            <a:r>
              <a:rPr lang="en-US" b="1" u="sng" dirty="0"/>
              <a:t>Binary Counter: </a:t>
            </a:r>
            <a:r>
              <a:rPr lang="en-US" dirty="0"/>
              <a:t>An n-bit binary counter can be constructed with n flip-flops, and it usually has a single-cycle state diagram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3591B8-37E8-64D4-099C-AD827E78B5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pic>
        <p:nvPicPr>
          <p:cNvPr id="8" name="Picture 7" descr="A picture containing table&#10;&#10;Description automatically generated">
            <a:extLst>
              <a:ext uri="{FF2B5EF4-FFF2-40B4-BE49-F238E27FC236}">
                <a16:creationId xmlns:a16="http://schemas.microsoft.com/office/drawing/2014/main" id="{389A3CD4-BD20-FBB3-CF12-A4B1B6EFBE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461" b="8295"/>
          <a:stretch/>
        </p:blipFill>
        <p:spPr bwMode="auto">
          <a:xfrm>
            <a:off x="514083" y="3962395"/>
            <a:ext cx="5104197" cy="16764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4499693-B824-2D81-E032-854F35E97E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1891281"/>
              </p:ext>
            </p:extLst>
          </p:nvPr>
        </p:nvGraphicFramePr>
        <p:xfrm>
          <a:off x="6172200" y="3265726"/>
          <a:ext cx="4635433" cy="3352800"/>
        </p:xfrm>
        <a:graphic>
          <a:graphicData uri="http://schemas.openxmlformats.org/drawingml/2006/table">
            <a:tbl>
              <a:tblPr firstRow="1" firstCol="1" bandRow="1"/>
              <a:tblGrid>
                <a:gridCol w="4635433">
                  <a:extLst>
                    <a:ext uri="{9D8B030D-6E8A-4147-A177-3AD203B41FA5}">
                      <a16:colId xmlns:a16="http://schemas.microsoft.com/office/drawing/2014/main" val="42830892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odule </a:t>
                      </a:r>
                      <a:r>
                        <a:rPr lang="en-US" sz="2000" kern="1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untbin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sz="2000" kern="1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lk,rstn,count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);</a:t>
                      </a: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input </a:t>
                      </a:r>
                      <a:r>
                        <a:rPr lang="en-US" sz="2000" kern="1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lk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2000" kern="1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stn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;</a:t>
                      </a: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output reg 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3:0] count;</a:t>
                      </a: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lways 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@ (</a:t>
                      </a:r>
                      <a:r>
                        <a:rPr lang="en-US" sz="2000" kern="100" dirty="0" err="1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osedge</a:t>
                      </a: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kern="1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lk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r </a:t>
                      </a:r>
                      <a:r>
                        <a:rPr lang="en-US" sz="2000" kern="100" dirty="0" err="1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egedge</a:t>
                      </a: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kern="1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stn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) </a:t>
                      </a:r>
                    </a:p>
                    <a:p>
                      <a:pPr marL="100965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egin</a:t>
                      </a:r>
                      <a:endParaRPr lang="en-US" sz="2000" kern="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215265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f 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!</a:t>
                      </a:r>
                      <a:r>
                        <a:rPr lang="en-US" sz="2000" kern="1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stn</a:t>
                      </a: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215265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unt &lt;= 4'b0;</a:t>
                      </a:r>
                    </a:p>
                    <a:p>
                      <a:pPr marL="215265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lse</a:t>
                      </a:r>
                      <a:endParaRPr lang="en-US" sz="2000" kern="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215265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unt &lt;= count + 1;</a:t>
                      </a:r>
                    </a:p>
                    <a:p>
                      <a:pPr marL="100965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d</a:t>
                      </a:r>
                      <a:endParaRPr lang="en-US" sz="2000" kern="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00" dirty="0" err="1">
                          <a:solidFill>
                            <a:srgbClr val="4472C4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dmodule</a:t>
                      </a:r>
                      <a:endParaRPr lang="en-US" sz="2000" kern="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3499051"/>
                  </a:ext>
                </a:extLst>
              </a:tr>
            </a:tbl>
          </a:graphicData>
        </a:graphic>
      </p:graphicFrame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ABDCB947-F53B-404C-B26E-03FAEB8F03C6}"/>
                  </a:ext>
                </a:extLst>
              </p14:cNvPr>
              <p14:cNvContentPartPr/>
              <p14:nvPr/>
            </p14:nvContentPartPr>
            <p14:xfrm>
              <a:off x="8701200" y="4110480"/>
              <a:ext cx="1730520" cy="109944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ABDCB947-F53B-404C-B26E-03FAEB8F03C6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691840" y="4101120"/>
                <a:ext cx="1749240" cy="11181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321311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ca8dd79d94d0b89fe9b6b2bf095f36224106ea8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08 Lecture">
  <a:themeElements>
    <a:clrScheme name="Custom 7">
      <a:dk1>
        <a:sysClr val="windowText" lastClr="000000"/>
      </a:dk1>
      <a:lt1>
        <a:sysClr val="window" lastClr="FFFFFF"/>
      </a:lt1>
      <a:dk2>
        <a:srgbClr val="000000"/>
      </a:dk2>
      <a:lt2>
        <a:srgbClr val="007FA3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orizon</Template>
  <TotalTime>15281</TotalTime>
  <Words>1743</Words>
  <Application>Microsoft Office PowerPoint</Application>
  <PresentationFormat>Widescreen</PresentationFormat>
  <Paragraphs>238</Paragraphs>
  <Slides>1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Consolas</vt:lpstr>
      <vt:lpstr>Sakkal Majalla</vt:lpstr>
      <vt:lpstr>Times New Roman</vt:lpstr>
      <vt:lpstr>Wingdings</vt:lpstr>
      <vt:lpstr>508 Lecture</vt:lpstr>
      <vt:lpstr>think-cell Slide</vt:lpstr>
      <vt:lpstr>CND111: Introduction to Digital Design</vt:lpstr>
      <vt:lpstr>Parameters </vt:lpstr>
      <vt:lpstr>Parameters</vt:lpstr>
      <vt:lpstr>Local Parameters</vt:lpstr>
      <vt:lpstr>Finite State Machine: example</vt:lpstr>
      <vt:lpstr>Finite State Machine: example</vt:lpstr>
      <vt:lpstr>Finite State Machine: example</vt:lpstr>
      <vt:lpstr>Finite State Machine: example</vt:lpstr>
      <vt:lpstr>Counters: Binary Counter</vt:lpstr>
      <vt:lpstr>Counters: Binary Counter</vt:lpstr>
      <vt:lpstr>PISO (Parallel In Serial Out)</vt:lpstr>
      <vt:lpstr>Reading Memories from file</vt:lpstr>
      <vt:lpstr>Read Only Memory (ROM)</vt:lpstr>
      <vt:lpstr>ROM Example 1</vt:lpstr>
      <vt:lpstr>ROM Example 2</vt:lpstr>
      <vt:lpstr>Random Access Memory (RAM)</vt:lpstr>
    </vt:vector>
  </TitlesOfParts>
  <Company>SP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Design: Principles and Practices, 5e with Verilog</dc:title>
  <dc:subject>Engineering, Computer Science</dc:subject>
  <dc:creator>Wakerly</dc:creator>
  <cp:keywords>Digital Design</cp:keywords>
  <cp:lastModifiedBy>Hosam Motaz</cp:lastModifiedBy>
  <cp:revision>3755</cp:revision>
  <dcterms:created xsi:type="dcterms:W3CDTF">2014-07-14T20:04:21Z</dcterms:created>
  <dcterms:modified xsi:type="dcterms:W3CDTF">2023-11-03T13:29:14Z</dcterms:modified>
</cp:coreProperties>
</file>